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ink/ink1.xml" ContentType="application/inkml+xml"/>
  <Override PartName="/ppt/media/media2.bin" ContentType="video/unknown"/>
  <Override PartName="/ppt/media/media3.bin" ContentType="video/unknown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99" r:id="rId2"/>
  </p:sldMasterIdLst>
  <p:notesMasterIdLst>
    <p:notesMasterId r:id="rId21"/>
  </p:notesMasterIdLst>
  <p:handoutMasterIdLst>
    <p:handoutMasterId r:id="rId22"/>
  </p:handoutMasterIdLst>
  <p:sldIdLst>
    <p:sldId id="1212" r:id="rId3"/>
    <p:sldId id="343" r:id="rId4"/>
    <p:sldId id="300" r:id="rId5"/>
    <p:sldId id="1213" r:id="rId6"/>
    <p:sldId id="1215" r:id="rId7"/>
    <p:sldId id="1216" r:id="rId8"/>
    <p:sldId id="1218" r:id="rId9"/>
    <p:sldId id="1217" r:id="rId10"/>
    <p:sldId id="1220" r:id="rId11"/>
    <p:sldId id="1223" r:id="rId12"/>
    <p:sldId id="1224" r:id="rId13"/>
    <p:sldId id="1225" r:id="rId14"/>
    <p:sldId id="1226" r:id="rId15"/>
    <p:sldId id="1227" r:id="rId16"/>
    <p:sldId id="1228" r:id="rId17"/>
    <p:sldId id="1221" r:id="rId18"/>
    <p:sldId id="1222" r:id="rId19"/>
    <p:sldId id="1219" r:id="rId20"/>
  </p:sldIdLst>
  <p:sldSz cx="12192000" cy="6858000"/>
  <p:notesSz cx="6858000" cy="9144000"/>
  <p:defaultTextStyle>
    <a:defPPr>
      <a:defRPr lang="en-US"/>
    </a:defPPr>
    <a:lvl1pPr>
      <a:spcBef>
        <a:spcPts val="0"/>
      </a:spcBef>
      <a:buClr>
        <a:schemeClr val="accent1"/>
      </a:buClr>
      <a:defRPr sz="1800"/>
    </a:lvl1pPr>
    <a:lvl2pPr marL="18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2pPr>
    <a:lvl3pPr marL="36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3pPr>
    <a:lvl4pPr marL="54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4pPr>
    <a:lvl5pPr marL="72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5pPr>
    <a:lvl6pPr marL="90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6pPr>
    <a:lvl7pPr marL="108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7pPr>
    <a:lvl8pPr marL="126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8pPr>
    <a:lvl9pPr marL="144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::denwelle1@publicisgroupe.net::08b00602-60fa-48c3-96fb-06a947b67cd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bw"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394C5"/>
    <a:srgbClr val="BEADDA"/>
    <a:srgbClr val="1E1E1E"/>
    <a:srgbClr val="00D1CB"/>
    <a:srgbClr val="008C96"/>
    <a:srgbClr val="A4C8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4DFB71F-A99C-4416-BDCE-ACE22599A145}" v="74" dt="2023-09-17T17:24:16.761"/>
  </p1510:revLst>
</p1510:revInfo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  <a:insideH>
            <a:ln w="12700" cmpd="sng">
              <a:solidFill>
                <a:schemeClr val="accent6">
                  <a:alpha val="15000"/>
                </a:schemeClr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  <a:fill>
          <a:solidFill>
            <a:schemeClr val="accent6">
              <a:alpha val="5000"/>
            </a:schemeClr>
          </a:solidFill>
        </a:fill>
      </a:tcStyle>
    </a:band1H>
    <a:band2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</a:tcStyle>
    </a:band2H>
    <a:band1V>
      <a:tcStyle>
        <a:tcBdr/>
        <a:fill>
          <a:solidFill>
            <a:schemeClr val="accent6">
              <a:alpha val="5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75" d="100"/>
          <a:sy n="75" d="100"/>
        </p:scale>
        <p:origin x="1194" y="726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commentAuthors" Target="commentAuthors.xml"/><Relationship Id="rId28" Type="http://schemas.microsoft.com/office/2016/11/relationships/changesInfo" Target="changesInfos/changesInfo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eri Carnu" userId="dca46e56149d37a2" providerId="LiveId" clId="{F4DFB71F-A99C-4416-BDCE-ACE22599A145}"/>
    <pc:docChg chg="undo redo custSel addSld delSld modSld sldOrd modMainMaster">
      <pc:chgData name="Feri Carnu" userId="dca46e56149d37a2" providerId="LiveId" clId="{F4DFB71F-A99C-4416-BDCE-ACE22599A145}" dt="2023-09-18T09:56:18.508" v="2713" actId="207"/>
      <pc:docMkLst>
        <pc:docMk/>
      </pc:docMkLst>
      <pc:sldChg chg="modSp">
        <pc:chgData name="Feri Carnu" userId="dca46e56149d37a2" providerId="LiveId" clId="{F4DFB71F-A99C-4416-BDCE-ACE22599A145}" dt="2023-09-17T12:42:24.008" v="171"/>
        <pc:sldMkLst>
          <pc:docMk/>
          <pc:sldMk cId="357168791" sldId="300"/>
        </pc:sldMkLst>
        <pc:spChg chg="mod">
          <ac:chgData name="Feri Carnu" userId="dca46e56149d37a2" providerId="LiveId" clId="{F4DFB71F-A99C-4416-BDCE-ACE22599A145}" dt="2023-09-17T12:42:24.008" v="171"/>
          <ac:spMkLst>
            <pc:docMk/>
            <pc:sldMk cId="357168791" sldId="300"/>
            <ac:spMk id="6" creationId="{A12F442D-7CD2-F399-1EF0-2AF03A957FEF}"/>
          </ac:spMkLst>
        </pc:spChg>
        <pc:picChg chg="mod">
          <ac:chgData name="Feri Carnu" userId="dca46e56149d37a2" providerId="LiveId" clId="{F4DFB71F-A99C-4416-BDCE-ACE22599A145}" dt="2023-09-17T12:42:24.008" v="171"/>
          <ac:picMkLst>
            <pc:docMk/>
            <pc:sldMk cId="357168791" sldId="300"/>
            <ac:picMk id="5" creationId="{210B7B7D-17FE-7597-C36C-425540622A20}"/>
          </ac:picMkLst>
        </pc:picChg>
      </pc:sldChg>
      <pc:sldChg chg="addSp delSp modSp mod">
        <pc:chgData name="Feri Carnu" userId="dca46e56149d37a2" providerId="LiveId" clId="{F4DFB71F-A99C-4416-BDCE-ACE22599A145}" dt="2023-09-17T12:47:34.082" v="216"/>
        <pc:sldMkLst>
          <pc:docMk/>
          <pc:sldMk cId="41984877" sldId="343"/>
        </pc:sldMkLst>
        <pc:spChg chg="mod">
          <ac:chgData name="Feri Carnu" userId="dca46e56149d37a2" providerId="LiveId" clId="{F4DFB71F-A99C-4416-BDCE-ACE22599A145}" dt="2023-09-17T12:42:24.008" v="171"/>
          <ac:spMkLst>
            <pc:docMk/>
            <pc:sldMk cId="41984877" sldId="343"/>
            <ac:spMk id="3" creationId="{38D101C9-5442-4E35-9BFD-3591529F0F77}"/>
          </ac:spMkLst>
        </pc:spChg>
        <pc:spChg chg="add mod">
          <ac:chgData name="Feri Carnu" userId="dca46e56149d37a2" providerId="LiveId" clId="{F4DFB71F-A99C-4416-BDCE-ACE22599A145}" dt="2023-09-17T12:47:34.082" v="216"/>
          <ac:spMkLst>
            <pc:docMk/>
            <pc:sldMk cId="41984877" sldId="343"/>
            <ac:spMk id="5" creationId="{E6299779-AB00-23F8-4C27-7F5E24F01CF4}"/>
          </ac:spMkLst>
        </pc:spChg>
        <pc:spChg chg="del mod">
          <ac:chgData name="Feri Carnu" userId="dca46e56149d37a2" providerId="LiveId" clId="{F4DFB71F-A99C-4416-BDCE-ACE22599A145}" dt="2023-09-17T12:47:24.511" v="214" actId="478"/>
          <ac:spMkLst>
            <pc:docMk/>
            <pc:sldMk cId="41984877" sldId="343"/>
            <ac:spMk id="34" creationId="{0766137C-6B18-1F2D-3A2C-532E13E2AFBF}"/>
          </ac:spMkLst>
        </pc:spChg>
      </pc:sldChg>
      <pc:sldChg chg="modSp mod">
        <pc:chgData name="Feri Carnu" userId="dca46e56149d37a2" providerId="LiveId" clId="{F4DFB71F-A99C-4416-BDCE-ACE22599A145}" dt="2023-09-17T12:49:07.954" v="219" actId="207"/>
        <pc:sldMkLst>
          <pc:docMk/>
          <pc:sldMk cId="1053205732" sldId="1212"/>
        </pc:sldMkLst>
        <pc:spChg chg="mod">
          <ac:chgData name="Feri Carnu" userId="dca46e56149d37a2" providerId="LiveId" clId="{F4DFB71F-A99C-4416-BDCE-ACE22599A145}" dt="2023-09-17T12:42:24.008" v="171"/>
          <ac:spMkLst>
            <pc:docMk/>
            <pc:sldMk cId="1053205732" sldId="1212"/>
            <ac:spMk id="2" creationId="{8FDA17C2-CC0D-4A70-A1C4-4DAA44F64772}"/>
          </ac:spMkLst>
        </pc:spChg>
        <pc:spChg chg="mod">
          <ac:chgData name="Feri Carnu" userId="dca46e56149d37a2" providerId="LiveId" clId="{F4DFB71F-A99C-4416-BDCE-ACE22599A145}" dt="2023-09-17T12:42:24.008" v="171"/>
          <ac:spMkLst>
            <pc:docMk/>
            <pc:sldMk cId="1053205732" sldId="1212"/>
            <ac:spMk id="5" creationId="{C14414CC-0D3D-4B70-91D9-2F124E04E6B2}"/>
          </ac:spMkLst>
        </pc:spChg>
        <pc:spChg chg="mod">
          <ac:chgData name="Feri Carnu" userId="dca46e56149d37a2" providerId="LiveId" clId="{F4DFB71F-A99C-4416-BDCE-ACE22599A145}" dt="2023-09-17T12:49:07.954" v="219" actId="207"/>
          <ac:spMkLst>
            <pc:docMk/>
            <pc:sldMk cId="1053205732" sldId="1212"/>
            <ac:spMk id="6" creationId="{DA865AB3-8AE0-4AB0-94C2-2E517EC147DE}"/>
          </ac:spMkLst>
        </pc:spChg>
      </pc:sldChg>
      <pc:sldChg chg="modSp">
        <pc:chgData name="Feri Carnu" userId="dca46e56149d37a2" providerId="LiveId" clId="{F4DFB71F-A99C-4416-BDCE-ACE22599A145}" dt="2023-09-17T12:42:24.008" v="171"/>
        <pc:sldMkLst>
          <pc:docMk/>
          <pc:sldMk cId="1393103478" sldId="1213"/>
        </pc:sldMkLst>
        <pc:spChg chg="mod">
          <ac:chgData name="Feri Carnu" userId="dca46e56149d37a2" providerId="LiveId" clId="{F4DFB71F-A99C-4416-BDCE-ACE22599A145}" dt="2023-09-17T12:42:24.008" v="171"/>
          <ac:spMkLst>
            <pc:docMk/>
            <pc:sldMk cId="1393103478" sldId="1213"/>
            <ac:spMk id="2" creationId="{51AB595A-9CFB-4429-0BCD-23667203620D}"/>
          </ac:spMkLst>
        </pc:spChg>
        <pc:picChg chg="mod">
          <ac:chgData name="Feri Carnu" userId="dca46e56149d37a2" providerId="LiveId" clId="{F4DFB71F-A99C-4416-BDCE-ACE22599A145}" dt="2023-09-17T12:42:24.008" v="171"/>
          <ac:picMkLst>
            <pc:docMk/>
            <pc:sldMk cId="1393103478" sldId="1213"/>
            <ac:picMk id="8" creationId="{E476D6B6-075E-4C2C-A7CD-C959F1CA4854}"/>
          </ac:picMkLst>
        </pc:picChg>
      </pc:sldChg>
      <pc:sldChg chg="modSp mod">
        <pc:chgData name="Feri Carnu" userId="dca46e56149d37a2" providerId="LiveId" clId="{F4DFB71F-A99C-4416-BDCE-ACE22599A145}" dt="2023-09-17T16:14:15.274" v="1337" actId="20577"/>
        <pc:sldMkLst>
          <pc:docMk/>
          <pc:sldMk cId="3194529969" sldId="1215"/>
        </pc:sldMkLst>
        <pc:spChg chg="mod">
          <ac:chgData name="Feri Carnu" userId="dca46e56149d37a2" providerId="LiveId" clId="{F4DFB71F-A99C-4416-BDCE-ACE22599A145}" dt="2023-09-17T16:14:15.274" v="1337" actId="20577"/>
          <ac:spMkLst>
            <pc:docMk/>
            <pc:sldMk cId="3194529969" sldId="1215"/>
            <ac:spMk id="7" creationId="{4538D298-7BB5-0A4F-40F5-60189A2EB21D}"/>
          </ac:spMkLst>
        </pc:spChg>
        <pc:spChg chg="mod">
          <ac:chgData name="Feri Carnu" userId="dca46e56149d37a2" providerId="LiveId" clId="{F4DFB71F-A99C-4416-BDCE-ACE22599A145}" dt="2023-09-17T12:42:24.008" v="171"/>
          <ac:spMkLst>
            <pc:docMk/>
            <pc:sldMk cId="3194529969" sldId="1215"/>
            <ac:spMk id="8" creationId="{24E18847-575C-E635-E02E-7436D9D8478C}"/>
          </ac:spMkLst>
        </pc:spChg>
        <pc:spChg chg="mod">
          <ac:chgData name="Feri Carnu" userId="dca46e56149d37a2" providerId="LiveId" clId="{F4DFB71F-A99C-4416-BDCE-ACE22599A145}" dt="2023-09-17T12:52:50.756" v="258" actId="207"/>
          <ac:spMkLst>
            <pc:docMk/>
            <pc:sldMk cId="3194529969" sldId="1215"/>
            <ac:spMk id="18" creationId="{EC854D20-5CF0-586C-0040-F09ED327A41A}"/>
          </ac:spMkLst>
        </pc:spChg>
        <pc:spChg chg="mod">
          <ac:chgData name="Feri Carnu" userId="dca46e56149d37a2" providerId="LiveId" clId="{F4DFB71F-A99C-4416-BDCE-ACE22599A145}" dt="2023-09-14T06:58:08.924" v="80" actId="20577"/>
          <ac:spMkLst>
            <pc:docMk/>
            <pc:sldMk cId="3194529969" sldId="1215"/>
            <ac:spMk id="23" creationId="{80A59E74-7ACF-895E-C893-9B6C328FCC7E}"/>
          </ac:spMkLst>
        </pc:spChg>
      </pc:sldChg>
      <pc:sldChg chg="modSp mod">
        <pc:chgData name="Feri Carnu" userId="dca46e56149d37a2" providerId="LiveId" clId="{F4DFB71F-A99C-4416-BDCE-ACE22599A145}" dt="2023-09-17T13:06:37.450" v="858" actId="20577"/>
        <pc:sldMkLst>
          <pc:docMk/>
          <pc:sldMk cId="171323570" sldId="1216"/>
        </pc:sldMkLst>
        <pc:spChg chg="mod">
          <ac:chgData name="Feri Carnu" userId="dca46e56149d37a2" providerId="LiveId" clId="{F4DFB71F-A99C-4416-BDCE-ACE22599A145}" dt="2023-09-17T12:42:24.008" v="171"/>
          <ac:spMkLst>
            <pc:docMk/>
            <pc:sldMk cId="171323570" sldId="1216"/>
            <ac:spMk id="2" creationId="{55182A55-E76E-A111-EDA3-520F17CC7710}"/>
          </ac:spMkLst>
        </pc:spChg>
        <pc:spChg chg="mod">
          <ac:chgData name="Feri Carnu" userId="dca46e56149d37a2" providerId="LiveId" clId="{F4DFB71F-A99C-4416-BDCE-ACE22599A145}" dt="2023-09-17T13:06:37.450" v="858" actId="20577"/>
          <ac:spMkLst>
            <pc:docMk/>
            <pc:sldMk cId="171323570" sldId="1216"/>
            <ac:spMk id="3" creationId="{9C7267CC-9212-9D88-6676-CF50C337C64B}"/>
          </ac:spMkLst>
        </pc:spChg>
        <pc:picChg chg="mod">
          <ac:chgData name="Feri Carnu" userId="dca46e56149d37a2" providerId="LiveId" clId="{F4DFB71F-A99C-4416-BDCE-ACE22599A145}" dt="2023-09-12T16:15:04.729" v="7" actId="14100"/>
          <ac:picMkLst>
            <pc:docMk/>
            <pc:sldMk cId="171323570" sldId="1216"/>
            <ac:picMk id="15" creationId="{716BD0E5-FDE9-5E99-B374-A4FF91BC5B6F}"/>
          </ac:picMkLst>
        </pc:picChg>
      </pc:sldChg>
      <pc:sldChg chg="modSp mod">
        <pc:chgData name="Feri Carnu" userId="dca46e56149d37a2" providerId="LiveId" clId="{F4DFB71F-A99C-4416-BDCE-ACE22599A145}" dt="2023-09-18T09:56:18.508" v="2713" actId="207"/>
        <pc:sldMkLst>
          <pc:docMk/>
          <pc:sldMk cId="1366193074" sldId="1217"/>
        </pc:sldMkLst>
        <pc:spChg chg="mod">
          <ac:chgData name="Feri Carnu" userId="dca46e56149d37a2" providerId="LiveId" clId="{F4DFB71F-A99C-4416-BDCE-ACE22599A145}" dt="2023-09-18T09:56:18.508" v="2713" actId="207"/>
          <ac:spMkLst>
            <pc:docMk/>
            <pc:sldMk cId="1366193074" sldId="1217"/>
            <ac:spMk id="4" creationId="{3416CDBB-BDCD-6BAF-072D-C170702BD676}"/>
          </ac:spMkLst>
        </pc:spChg>
        <pc:spChg chg="mod">
          <ac:chgData name="Feri Carnu" userId="dca46e56149d37a2" providerId="LiveId" clId="{F4DFB71F-A99C-4416-BDCE-ACE22599A145}" dt="2023-09-17T12:42:24.008" v="171"/>
          <ac:spMkLst>
            <pc:docMk/>
            <pc:sldMk cId="1366193074" sldId="1217"/>
            <ac:spMk id="8" creationId="{D3560FB0-8103-2738-777D-8C530FAE1016}"/>
          </ac:spMkLst>
        </pc:spChg>
        <pc:picChg chg="mod">
          <ac:chgData name="Feri Carnu" userId="dca46e56149d37a2" providerId="LiveId" clId="{F4DFB71F-A99C-4416-BDCE-ACE22599A145}" dt="2023-09-12T16:15:29.779" v="8" actId="108"/>
          <ac:picMkLst>
            <pc:docMk/>
            <pc:sldMk cId="1366193074" sldId="1217"/>
            <ac:picMk id="7" creationId="{050A1D50-003A-F14D-860F-48EDCBF6EA11}"/>
          </ac:picMkLst>
        </pc:picChg>
      </pc:sldChg>
      <pc:sldChg chg="modSp mod">
        <pc:chgData name="Feri Carnu" userId="dca46e56149d37a2" providerId="LiveId" clId="{F4DFB71F-A99C-4416-BDCE-ACE22599A145}" dt="2023-09-17T13:12:06.800" v="1297" actId="207"/>
        <pc:sldMkLst>
          <pc:docMk/>
          <pc:sldMk cId="1911023253" sldId="1218"/>
        </pc:sldMkLst>
        <pc:spChg chg="mod">
          <ac:chgData name="Feri Carnu" userId="dca46e56149d37a2" providerId="LiveId" clId="{F4DFB71F-A99C-4416-BDCE-ACE22599A145}" dt="2023-09-17T12:42:24.008" v="171"/>
          <ac:spMkLst>
            <pc:docMk/>
            <pc:sldMk cId="1911023253" sldId="1218"/>
            <ac:spMk id="2" creationId="{55182A55-E76E-A111-EDA3-520F17CC7710}"/>
          </ac:spMkLst>
        </pc:spChg>
        <pc:spChg chg="mod">
          <ac:chgData name="Feri Carnu" userId="dca46e56149d37a2" providerId="LiveId" clId="{F4DFB71F-A99C-4416-BDCE-ACE22599A145}" dt="2023-09-17T13:12:06.800" v="1297" actId="207"/>
          <ac:spMkLst>
            <pc:docMk/>
            <pc:sldMk cId="1911023253" sldId="1218"/>
            <ac:spMk id="3" creationId="{9C7267CC-9212-9D88-6676-CF50C337C64B}"/>
          </ac:spMkLst>
        </pc:spChg>
        <pc:picChg chg="mod">
          <ac:chgData name="Feri Carnu" userId="dca46e56149d37a2" providerId="LiveId" clId="{F4DFB71F-A99C-4416-BDCE-ACE22599A145}" dt="2023-09-17T12:42:14.200" v="170"/>
          <ac:picMkLst>
            <pc:docMk/>
            <pc:sldMk cId="1911023253" sldId="1218"/>
            <ac:picMk id="9" creationId="{DEE5A6AE-F989-9DCA-55DE-00F0BF844383}"/>
          </ac:picMkLst>
        </pc:picChg>
      </pc:sldChg>
      <pc:sldChg chg="addSp delSp modSp mod modClrScheme delDesignElem chgLayout">
        <pc:chgData name="Feri Carnu" userId="dca46e56149d37a2" providerId="LiveId" clId="{F4DFB71F-A99C-4416-BDCE-ACE22599A145}" dt="2023-09-17T17:24:36.845" v="2557" actId="120"/>
        <pc:sldMkLst>
          <pc:docMk/>
          <pc:sldMk cId="915022865" sldId="1219"/>
        </pc:sldMkLst>
        <pc:spChg chg="mod ord">
          <ac:chgData name="Feri Carnu" userId="dca46e56149d37a2" providerId="LiveId" clId="{F4DFB71F-A99C-4416-BDCE-ACE22599A145}" dt="2023-09-17T17:24:13.759" v="2552" actId="26606"/>
          <ac:spMkLst>
            <pc:docMk/>
            <pc:sldMk cId="915022865" sldId="1219"/>
            <ac:spMk id="2" creationId="{A8407F61-00EA-BE49-D9FB-BCCB1DB05C66}"/>
          </ac:spMkLst>
        </pc:spChg>
        <pc:spChg chg="add mod">
          <ac:chgData name="Feri Carnu" userId="dca46e56149d37a2" providerId="LiveId" clId="{F4DFB71F-A99C-4416-BDCE-ACE22599A145}" dt="2023-09-17T17:24:36.845" v="2557" actId="120"/>
          <ac:spMkLst>
            <pc:docMk/>
            <pc:sldMk cId="915022865" sldId="1219"/>
            <ac:spMk id="3" creationId="{27E6858A-9338-235B-5AEB-5799D1C38DB9}"/>
          </ac:spMkLst>
        </pc:spChg>
        <pc:spChg chg="mod ord">
          <ac:chgData name="Feri Carnu" userId="dca46e56149d37a2" providerId="LiveId" clId="{F4DFB71F-A99C-4416-BDCE-ACE22599A145}" dt="2023-09-17T17:24:13.759" v="2552" actId="26606"/>
          <ac:spMkLst>
            <pc:docMk/>
            <pc:sldMk cId="915022865" sldId="1219"/>
            <ac:spMk id="6" creationId="{7683350F-988B-CB4D-B4AB-9FF7B7712603}"/>
          </ac:spMkLst>
        </pc:spChg>
        <pc:spChg chg="del">
          <ac:chgData name="Feri Carnu" userId="dca46e56149d37a2" providerId="LiveId" clId="{F4DFB71F-A99C-4416-BDCE-ACE22599A145}" dt="2023-09-17T12:42:14.200" v="170"/>
          <ac:spMkLst>
            <pc:docMk/>
            <pc:sldMk cId="915022865" sldId="1219"/>
            <ac:spMk id="7" creationId="{E7AFFF44-677E-4EBE-3641-CD807A274003}"/>
          </ac:spMkLst>
        </pc:spChg>
        <pc:spChg chg="del">
          <ac:chgData name="Feri Carnu" userId="dca46e56149d37a2" providerId="LiveId" clId="{F4DFB71F-A99C-4416-BDCE-ACE22599A145}" dt="2023-09-17T12:42:14.200" v="170"/>
          <ac:spMkLst>
            <pc:docMk/>
            <pc:sldMk cId="915022865" sldId="1219"/>
            <ac:spMk id="8" creationId="{4C3C7EFD-7506-1DFC-C42D-97ADCA6C90EE}"/>
          </ac:spMkLst>
        </pc:spChg>
        <pc:spChg chg="del">
          <ac:chgData name="Feri Carnu" userId="dca46e56149d37a2" providerId="LiveId" clId="{F4DFB71F-A99C-4416-BDCE-ACE22599A145}" dt="2023-09-17T12:42:14.200" v="170"/>
          <ac:spMkLst>
            <pc:docMk/>
            <pc:sldMk cId="915022865" sldId="1219"/>
            <ac:spMk id="9" creationId="{913E7EA3-1CF7-4AFD-31ED-0841706B4F0B}"/>
          </ac:spMkLst>
        </pc:spChg>
        <pc:spChg chg="del">
          <ac:chgData name="Feri Carnu" userId="dca46e56149d37a2" providerId="LiveId" clId="{F4DFB71F-A99C-4416-BDCE-ACE22599A145}" dt="2023-09-17T12:42:14.200" v="170"/>
          <ac:spMkLst>
            <pc:docMk/>
            <pc:sldMk cId="915022865" sldId="1219"/>
            <ac:spMk id="10" creationId="{BCF9667A-1D45-4B8B-4065-098681DE907E}"/>
          </ac:spMkLst>
        </pc:spChg>
        <pc:spChg chg="del mod">
          <ac:chgData name="Feri Carnu" userId="dca46e56149d37a2" providerId="LiveId" clId="{F4DFB71F-A99C-4416-BDCE-ACE22599A145}" dt="2023-09-17T17:24:19.648" v="2554" actId="478"/>
          <ac:spMkLst>
            <pc:docMk/>
            <pc:sldMk cId="915022865" sldId="1219"/>
            <ac:spMk id="13" creationId="{48E6C209-CB55-9F5E-50AA-7B5601F2BB46}"/>
          </ac:spMkLst>
        </pc:spChg>
      </pc:sldChg>
      <pc:sldChg chg="addSp delSp modSp mod delAnim modAnim">
        <pc:chgData name="Feri Carnu" userId="dca46e56149d37a2" providerId="LiveId" clId="{F4DFB71F-A99C-4416-BDCE-ACE22599A145}" dt="2023-09-17T12:42:24.008" v="171"/>
        <pc:sldMkLst>
          <pc:docMk/>
          <pc:sldMk cId="47516224" sldId="1220"/>
        </pc:sldMkLst>
        <pc:spChg chg="mod">
          <ac:chgData name="Feri Carnu" userId="dca46e56149d37a2" providerId="LiveId" clId="{F4DFB71F-A99C-4416-BDCE-ACE22599A145}" dt="2023-09-17T12:42:24.008" v="171"/>
          <ac:spMkLst>
            <pc:docMk/>
            <pc:sldMk cId="47516224" sldId="1220"/>
            <ac:spMk id="2" creationId="{BF10D9DC-AF94-E2BD-4A6F-67ADD610063E}"/>
          </ac:spMkLst>
        </pc:spChg>
        <pc:spChg chg="add del mod">
          <ac:chgData name="Feri Carnu" userId="dca46e56149d37a2" providerId="LiveId" clId="{F4DFB71F-A99C-4416-BDCE-ACE22599A145}" dt="2023-09-12T16:14:27.673" v="4" actId="478"/>
          <ac:spMkLst>
            <pc:docMk/>
            <pc:sldMk cId="47516224" sldId="1220"/>
            <ac:spMk id="8" creationId="{08A9A779-B215-B7E6-FA33-18754838DF2D}"/>
          </ac:spMkLst>
        </pc:spChg>
        <pc:picChg chg="add mod">
          <ac:chgData name="Feri Carnu" userId="dca46e56149d37a2" providerId="LiveId" clId="{F4DFB71F-A99C-4416-BDCE-ACE22599A145}" dt="2023-09-12T16:16:15.238" v="15" actId="1076"/>
          <ac:picMkLst>
            <pc:docMk/>
            <pc:sldMk cId="47516224" sldId="1220"/>
            <ac:picMk id="3" creationId="{45883139-0C9E-12C0-5C15-97CDA6F12EA3}"/>
          </ac:picMkLst>
        </pc:picChg>
        <pc:picChg chg="add del mod">
          <ac:chgData name="Feri Carnu" userId="dca46e56149d37a2" providerId="LiveId" clId="{F4DFB71F-A99C-4416-BDCE-ACE22599A145}" dt="2023-09-12T16:16:07.371" v="12" actId="21"/>
          <ac:picMkLst>
            <pc:docMk/>
            <pc:sldMk cId="47516224" sldId="1220"/>
            <ac:picMk id="4" creationId="{370E94C7-8799-3B81-2181-234792419F9D}"/>
          </ac:picMkLst>
        </pc:picChg>
        <pc:picChg chg="del">
          <ac:chgData name="Feri Carnu" userId="dca46e56149d37a2" providerId="LiveId" clId="{F4DFB71F-A99C-4416-BDCE-ACE22599A145}" dt="2023-09-12T16:14:19.357" v="2" actId="478"/>
          <ac:picMkLst>
            <pc:docMk/>
            <pc:sldMk cId="47516224" sldId="1220"/>
            <ac:picMk id="7" creationId="{6DDD3F4D-CE88-7F02-2745-9A845FEB0DC6}"/>
          </ac:picMkLst>
        </pc:picChg>
      </pc:sldChg>
      <pc:sldChg chg="addSp delSp modSp mod modAnim">
        <pc:chgData name="Feri Carnu" userId="dca46e56149d37a2" providerId="LiveId" clId="{F4DFB71F-A99C-4416-BDCE-ACE22599A145}" dt="2023-09-17T17:22:59.823" v="2536" actId="208"/>
        <pc:sldMkLst>
          <pc:docMk/>
          <pc:sldMk cId="3203684525" sldId="1221"/>
        </pc:sldMkLst>
        <pc:spChg chg="mod">
          <ac:chgData name="Feri Carnu" userId="dca46e56149d37a2" providerId="LiveId" clId="{F4DFB71F-A99C-4416-BDCE-ACE22599A145}" dt="2023-09-17T12:42:24.008" v="171"/>
          <ac:spMkLst>
            <pc:docMk/>
            <pc:sldMk cId="3203684525" sldId="1221"/>
            <ac:spMk id="2" creationId="{5F050556-6A80-6DD8-42ED-26EC8EAF2A3A}"/>
          </ac:spMkLst>
        </pc:spChg>
        <pc:spChg chg="del">
          <ac:chgData name="Feri Carnu" userId="dca46e56149d37a2" providerId="LiveId" clId="{F4DFB71F-A99C-4416-BDCE-ACE22599A145}" dt="2023-09-12T16:16:11.366" v="13" actId="478"/>
          <ac:spMkLst>
            <pc:docMk/>
            <pc:sldMk cId="3203684525" sldId="1221"/>
            <ac:spMk id="5" creationId="{312BF4EC-5320-3D50-B61D-577586AA838D}"/>
          </ac:spMkLst>
        </pc:spChg>
        <pc:spChg chg="mod">
          <ac:chgData name="Feri Carnu" userId="dca46e56149d37a2" providerId="LiveId" clId="{F4DFB71F-A99C-4416-BDCE-ACE22599A145}" dt="2023-09-12T16:16:35.564" v="20" actId="14100"/>
          <ac:spMkLst>
            <pc:docMk/>
            <pc:sldMk cId="3203684525" sldId="1221"/>
            <ac:spMk id="7" creationId="{563117E3-EE52-E935-3C9D-2452D7487472}"/>
          </ac:spMkLst>
        </pc:spChg>
        <pc:picChg chg="add mod">
          <ac:chgData name="Feri Carnu" userId="dca46e56149d37a2" providerId="LiveId" clId="{F4DFB71F-A99C-4416-BDCE-ACE22599A145}" dt="2023-09-17T17:22:59.823" v="2536" actId="208"/>
          <ac:picMkLst>
            <pc:docMk/>
            <pc:sldMk cId="3203684525" sldId="1221"/>
            <ac:picMk id="3" creationId="{ED91BA60-C792-4CD1-B37A-7ED5A13D1200}"/>
          </ac:picMkLst>
        </pc:picChg>
      </pc:sldChg>
      <pc:sldChg chg="modSp mod">
        <pc:chgData name="Feri Carnu" userId="dca46e56149d37a2" providerId="LiveId" clId="{F4DFB71F-A99C-4416-BDCE-ACE22599A145}" dt="2023-09-17T17:24:04.075" v="2551" actId="208"/>
        <pc:sldMkLst>
          <pc:docMk/>
          <pc:sldMk cId="3522227657" sldId="1222"/>
        </pc:sldMkLst>
        <pc:spChg chg="mod">
          <ac:chgData name="Feri Carnu" userId="dca46e56149d37a2" providerId="LiveId" clId="{F4DFB71F-A99C-4416-BDCE-ACE22599A145}" dt="2023-09-17T12:42:24.008" v="171"/>
          <ac:spMkLst>
            <pc:docMk/>
            <pc:sldMk cId="3522227657" sldId="1222"/>
            <ac:spMk id="2" creationId="{79606C97-B53C-E13A-F2D7-9F7B1CE54DE2}"/>
          </ac:spMkLst>
        </pc:spChg>
        <pc:picChg chg="mod">
          <ac:chgData name="Feri Carnu" userId="dca46e56149d37a2" providerId="LiveId" clId="{F4DFB71F-A99C-4416-BDCE-ACE22599A145}" dt="2023-09-17T17:24:04.075" v="2551" actId="208"/>
          <ac:picMkLst>
            <pc:docMk/>
            <pc:sldMk cId="3522227657" sldId="1222"/>
            <ac:picMk id="8" creationId="{8A51178C-92D0-BC6F-52F3-81A848D41799}"/>
          </ac:picMkLst>
        </pc:picChg>
      </pc:sldChg>
      <pc:sldChg chg="addSp delSp modSp new mod ord">
        <pc:chgData name="Feri Carnu" userId="dca46e56149d37a2" providerId="LiveId" clId="{F4DFB71F-A99C-4416-BDCE-ACE22599A145}" dt="2023-09-17T17:22:07.277" v="2535"/>
        <pc:sldMkLst>
          <pc:docMk/>
          <pc:sldMk cId="3219481040" sldId="1223"/>
        </pc:sldMkLst>
        <pc:spChg chg="del">
          <ac:chgData name="Feri Carnu" userId="dca46e56149d37a2" providerId="LiveId" clId="{F4DFB71F-A99C-4416-BDCE-ACE22599A145}" dt="2023-09-17T12:34:28.021" v="83" actId="478"/>
          <ac:spMkLst>
            <pc:docMk/>
            <pc:sldMk cId="3219481040" sldId="1223"/>
            <ac:spMk id="2" creationId="{F8328633-4BBD-A301-846B-932468D6FD1A}"/>
          </ac:spMkLst>
        </pc:spChg>
        <pc:spChg chg="del">
          <ac:chgData name="Feri Carnu" userId="dca46e56149d37a2" providerId="LiveId" clId="{F4DFB71F-A99C-4416-BDCE-ACE22599A145}" dt="2023-09-17T12:34:24.767" v="82" actId="478"/>
          <ac:spMkLst>
            <pc:docMk/>
            <pc:sldMk cId="3219481040" sldId="1223"/>
            <ac:spMk id="3" creationId="{175605F9-107E-1493-3A3B-A26A0530DC80}"/>
          </ac:spMkLst>
        </pc:spChg>
        <pc:spChg chg="del">
          <ac:chgData name="Feri Carnu" userId="dca46e56149d37a2" providerId="LiveId" clId="{F4DFB71F-A99C-4416-BDCE-ACE22599A145}" dt="2023-09-17T12:34:24.767" v="82" actId="478"/>
          <ac:spMkLst>
            <pc:docMk/>
            <pc:sldMk cId="3219481040" sldId="1223"/>
            <ac:spMk id="4" creationId="{37F3FB03-863C-5ACD-67C9-E8F5F243F3BB}"/>
          </ac:spMkLst>
        </pc:spChg>
        <pc:spChg chg="del">
          <ac:chgData name="Feri Carnu" userId="dca46e56149d37a2" providerId="LiveId" clId="{F4DFB71F-A99C-4416-BDCE-ACE22599A145}" dt="2023-09-17T12:34:24.767" v="82" actId="478"/>
          <ac:spMkLst>
            <pc:docMk/>
            <pc:sldMk cId="3219481040" sldId="1223"/>
            <ac:spMk id="5" creationId="{0FC762FC-F8D2-DF9D-9CB1-57FA72091ED1}"/>
          </ac:spMkLst>
        </pc:spChg>
        <pc:spChg chg="mod">
          <ac:chgData name="Feri Carnu" userId="dca46e56149d37a2" providerId="LiveId" clId="{F4DFB71F-A99C-4416-BDCE-ACE22599A145}" dt="2023-09-17T12:42:24.008" v="171"/>
          <ac:spMkLst>
            <pc:docMk/>
            <pc:sldMk cId="3219481040" sldId="1223"/>
            <ac:spMk id="6" creationId="{704C1E97-F1BA-F9EE-9F55-A647C1D35499}"/>
          </ac:spMkLst>
        </pc:spChg>
        <pc:spChg chg="add mod">
          <ac:chgData name="Feri Carnu" userId="dca46e56149d37a2" providerId="LiveId" clId="{F4DFB71F-A99C-4416-BDCE-ACE22599A145}" dt="2023-09-17T16:22:22.340" v="1741" actId="164"/>
          <ac:spMkLst>
            <pc:docMk/>
            <pc:sldMk cId="3219481040" sldId="1223"/>
            <ac:spMk id="7" creationId="{5C3D67EE-C3A3-B0EA-D69D-52899B50102C}"/>
          </ac:spMkLst>
        </pc:spChg>
        <pc:spChg chg="add mod ord">
          <ac:chgData name="Feri Carnu" userId="dca46e56149d37a2" providerId="LiveId" clId="{F4DFB71F-A99C-4416-BDCE-ACE22599A145}" dt="2023-09-17T16:22:22.340" v="1741" actId="164"/>
          <ac:spMkLst>
            <pc:docMk/>
            <pc:sldMk cId="3219481040" sldId="1223"/>
            <ac:spMk id="8" creationId="{4436A202-54D1-B0D2-21C4-75214D575E92}"/>
          </ac:spMkLst>
        </pc:spChg>
        <pc:spChg chg="add mod">
          <ac:chgData name="Feri Carnu" userId="dca46e56149d37a2" providerId="LiveId" clId="{F4DFB71F-A99C-4416-BDCE-ACE22599A145}" dt="2023-09-17T16:22:22.340" v="1741" actId="164"/>
          <ac:spMkLst>
            <pc:docMk/>
            <pc:sldMk cId="3219481040" sldId="1223"/>
            <ac:spMk id="9" creationId="{6B2D326B-95FE-E83D-DB67-95757B1C77A0}"/>
          </ac:spMkLst>
        </pc:spChg>
        <pc:spChg chg="add del mod">
          <ac:chgData name="Feri Carnu" userId="dca46e56149d37a2" providerId="LiveId" clId="{F4DFB71F-A99C-4416-BDCE-ACE22599A145}" dt="2023-09-17T12:40:17.329" v="161" actId="478"/>
          <ac:spMkLst>
            <pc:docMk/>
            <pc:sldMk cId="3219481040" sldId="1223"/>
            <ac:spMk id="10" creationId="{CFD8E0C1-A72D-3C01-8E21-351EB5B69715}"/>
          </ac:spMkLst>
        </pc:spChg>
        <pc:spChg chg="add mod">
          <ac:chgData name="Feri Carnu" userId="dca46e56149d37a2" providerId="LiveId" clId="{F4DFB71F-A99C-4416-BDCE-ACE22599A145}" dt="2023-09-17T16:22:22.340" v="1741" actId="164"/>
          <ac:spMkLst>
            <pc:docMk/>
            <pc:sldMk cId="3219481040" sldId="1223"/>
            <ac:spMk id="11" creationId="{3A007282-C9F0-EBEA-9F66-F4052CB985F3}"/>
          </ac:spMkLst>
        </pc:spChg>
        <pc:spChg chg="add mod ord">
          <ac:chgData name="Feri Carnu" userId="dca46e56149d37a2" providerId="LiveId" clId="{F4DFB71F-A99C-4416-BDCE-ACE22599A145}" dt="2023-09-17T16:22:22.340" v="1741" actId="164"/>
          <ac:spMkLst>
            <pc:docMk/>
            <pc:sldMk cId="3219481040" sldId="1223"/>
            <ac:spMk id="14" creationId="{1CC93C82-205B-18EA-5598-CBEAD8E67865}"/>
          </ac:spMkLst>
        </pc:spChg>
        <pc:spChg chg="add mod">
          <ac:chgData name="Feri Carnu" userId="dca46e56149d37a2" providerId="LiveId" clId="{F4DFB71F-A99C-4416-BDCE-ACE22599A145}" dt="2023-09-17T16:13:28.867" v="1331" actId="1076"/>
          <ac:spMkLst>
            <pc:docMk/>
            <pc:sldMk cId="3219481040" sldId="1223"/>
            <ac:spMk id="45" creationId="{6E9333B4-3186-4A9C-2A99-37E5828CABE9}"/>
          </ac:spMkLst>
        </pc:spChg>
        <pc:spChg chg="add del mod">
          <ac:chgData name="Feri Carnu" userId="dca46e56149d37a2" providerId="LiveId" clId="{F4DFB71F-A99C-4416-BDCE-ACE22599A145}" dt="2023-09-17T16:22:32.777" v="1742" actId="21"/>
          <ac:spMkLst>
            <pc:docMk/>
            <pc:sldMk cId="3219481040" sldId="1223"/>
            <ac:spMk id="46" creationId="{F6AF02F7-C0B2-3747-A2A2-4F11FE234CDA}"/>
          </ac:spMkLst>
        </pc:spChg>
        <pc:spChg chg="add del mod">
          <ac:chgData name="Feri Carnu" userId="dca46e56149d37a2" providerId="LiveId" clId="{F4DFB71F-A99C-4416-BDCE-ACE22599A145}" dt="2023-09-17T16:22:37.328" v="1745"/>
          <ac:spMkLst>
            <pc:docMk/>
            <pc:sldMk cId="3219481040" sldId="1223"/>
            <ac:spMk id="49" creationId="{F3B08B11-D008-82BD-271A-7174638E0777}"/>
          </ac:spMkLst>
        </pc:spChg>
        <pc:spChg chg="add del mod">
          <ac:chgData name="Feri Carnu" userId="dca46e56149d37a2" providerId="LiveId" clId="{F4DFB71F-A99C-4416-BDCE-ACE22599A145}" dt="2023-09-17T16:22:36.049" v="1744"/>
          <ac:spMkLst>
            <pc:docMk/>
            <pc:sldMk cId="3219481040" sldId="1223"/>
            <ac:spMk id="50" creationId="{E7470910-E305-AE8F-6D94-1FF70F359083}"/>
          </ac:spMkLst>
        </pc:spChg>
        <pc:spChg chg="add mod">
          <ac:chgData name="Feri Carnu" userId="dca46e56149d37a2" providerId="LiveId" clId="{F4DFB71F-A99C-4416-BDCE-ACE22599A145}" dt="2023-09-17T16:22:42.138" v="1746" actId="14100"/>
          <ac:spMkLst>
            <pc:docMk/>
            <pc:sldMk cId="3219481040" sldId="1223"/>
            <ac:spMk id="51" creationId="{C989ECF3-E063-EA46-6123-E607C667280C}"/>
          </ac:spMkLst>
        </pc:spChg>
        <pc:grpChg chg="add mod">
          <ac:chgData name="Feri Carnu" userId="dca46e56149d37a2" providerId="LiveId" clId="{F4DFB71F-A99C-4416-BDCE-ACE22599A145}" dt="2023-09-17T16:22:22.340" v="1741" actId="164"/>
          <ac:grpSpMkLst>
            <pc:docMk/>
            <pc:sldMk cId="3219481040" sldId="1223"/>
            <ac:grpSpMk id="47" creationId="{9AF0C1E5-114D-E641-456F-F5610483424D}"/>
          </ac:grpSpMkLst>
        </pc:grpChg>
        <pc:cxnChg chg="add mod">
          <ac:chgData name="Feri Carnu" userId="dca46e56149d37a2" providerId="LiveId" clId="{F4DFB71F-A99C-4416-BDCE-ACE22599A145}" dt="2023-09-17T16:22:22.340" v="1741" actId="164"/>
          <ac:cxnSpMkLst>
            <pc:docMk/>
            <pc:sldMk cId="3219481040" sldId="1223"/>
            <ac:cxnSpMk id="2" creationId="{4A396441-8D00-B031-F6F3-19C9C40CF851}"/>
          </ac:cxnSpMkLst>
        </pc:cxnChg>
        <pc:cxnChg chg="add mod">
          <ac:chgData name="Feri Carnu" userId="dca46e56149d37a2" providerId="LiveId" clId="{F4DFB71F-A99C-4416-BDCE-ACE22599A145}" dt="2023-09-17T16:22:22.340" v="1741" actId="164"/>
          <ac:cxnSpMkLst>
            <pc:docMk/>
            <pc:sldMk cId="3219481040" sldId="1223"/>
            <ac:cxnSpMk id="5" creationId="{AAFEB049-D994-FB86-8516-597E1B9108DC}"/>
          </ac:cxnSpMkLst>
        </pc:cxnChg>
        <pc:cxnChg chg="add mod">
          <ac:chgData name="Feri Carnu" userId="dca46e56149d37a2" providerId="LiveId" clId="{F4DFB71F-A99C-4416-BDCE-ACE22599A145}" dt="2023-09-17T16:22:22.340" v="1741" actId="164"/>
          <ac:cxnSpMkLst>
            <pc:docMk/>
            <pc:sldMk cId="3219481040" sldId="1223"/>
            <ac:cxnSpMk id="13" creationId="{E1AD675B-434C-222C-6604-5E015A512682}"/>
          </ac:cxnSpMkLst>
        </pc:cxnChg>
        <pc:cxnChg chg="add mod">
          <ac:chgData name="Feri Carnu" userId="dca46e56149d37a2" providerId="LiveId" clId="{F4DFB71F-A99C-4416-BDCE-ACE22599A145}" dt="2023-09-17T16:22:22.340" v="1741" actId="164"/>
          <ac:cxnSpMkLst>
            <pc:docMk/>
            <pc:sldMk cId="3219481040" sldId="1223"/>
            <ac:cxnSpMk id="17" creationId="{582B7FC0-D2E5-457B-A163-B8E22F3F9A35}"/>
          </ac:cxnSpMkLst>
        </pc:cxnChg>
      </pc:sldChg>
      <pc:sldChg chg="addSp delSp modSp add mod ord">
        <pc:chgData name="Feri Carnu" userId="dca46e56149d37a2" providerId="LiveId" clId="{F4DFB71F-A99C-4416-BDCE-ACE22599A145}" dt="2023-09-18T09:48:31.724" v="2563" actId="207"/>
        <pc:sldMkLst>
          <pc:docMk/>
          <pc:sldMk cId="2184280069" sldId="1224"/>
        </pc:sldMkLst>
        <pc:spChg chg="add del mod">
          <ac:chgData name="Feri Carnu" userId="dca46e56149d37a2" providerId="LiveId" clId="{F4DFB71F-A99C-4416-BDCE-ACE22599A145}" dt="2023-09-17T16:25:23.823" v="1838" actId="478"/>
          <ac:spMkLst>
            <pc:docMk/>
            <pc:sldMk cId="2184280069" sldId="1224"/>
            <ac:spMk id="3" creationId="{2ED4ADF5-12D6-DCCD-1A8F-C38253C74A2A}"/>
          </ac:spMkLst>
        </pc:spChg>
        <pc:spChg chg="mod">
          <ac:chgData name="Feri Carnu" userId="dca46e56149d37a2" providerId="LiveId" clId="{F4DFB71F-A99C-4416-BDCE-ACE22599A145}" dt="2023-09-17T16:25:45.639" v="1848" actId="108"/>
          <ac:spMkLst>
            <pc:docMk/>
            <pc:sldMk cId="2184280069" sldId="1224"/>
            <ac:spMk id="6" creationId="{A12F442D-7CD2-F399-1EF0-2AF03A957FEF}"/>
          </ac:spMkLst>
        </pc:spChg>
        <pc:spChg chg="add del">
          <ac:chgData name="Feri Carnu" userId="dca46e56149d37a2" providerId="LiveId" clId="{F4DFB71F-A99C-4416-BDCE-ACE22599A145}" dt="2023-09-17T16:27:23.536" v="1923" actId="478"/>
          <ac:spMkLst>
            <pc:docMk/>
            <pc:sldMk cId="2184280069" sldId="1224"/>
            <ac:spMk id="8" creationId="{A16807FD-054B-FD46-0132-B44D7CA7A918}"/>
          </ac:spMkLst>
        </pc:spChg>
        <pc:spChg chg="add mod">
          <ac:chgData name="Feri Carnu" userId="dca46e56149d37a2" providerId="LiveId" clId="{F4DFB71F-A99C-4416-BDCE-ACE22599A145}" dt="2023-09-18T09:48:31.724" v="2563" actId="207"/>
          <ac:spMkLst>
            <pc:docMk/>
            <pc:sldMk cId="2184280069" sldId="1224"/>
            <ac:spMk id="9" creationId="{6CFDB929-DAA8-0309-E1AC-922F0ADE5FA8}"/>
          </ac:spMkLst>
        </pc:spChg>
        <pc:spChg chg="add del mod">
          <ac:chgData name="Feri Carnu" userId="dca46e56149d37a2" providerId="LiveId" clId="{F4DFB71F-A99C-4416-BDCE-ACE22599A145}" dt="2023-09-17T16:33:05.371" v="1935" actId="478"/>
          <ac:spMkLst>
            <pc:docMk/>
            <pc:sldMk cId="2184280069" sldId="1224"/>
            <ac:spMk id="11" creationId="{2EF2A319-C857-C265-78A9-65621F87AB8F}"/>
          </ac:spMkLst>
        </pc:spChg>
        <pc:spChg chg="add del mod">
          <ac:chgData name="Feri Carnu" userId="dca46e56149d37a2" providerId="LiveId" clId="{F4DFB71F-A99C-4416-BDCE-ACE22599A145}" dt="2023-09-17T16:38:01.256" v="1959" actId="478"/>
          <ac:spMkLst>
            <pc:docMk/>
            <pc:sldMk cId="2184280069" sldId="1224"/>
            <ac:spMk id="17" creationId="{A86272A2-085D-1E5F-F8EC-AFB4071D0E8F}"/>
          </ac:spMkLst>
        </pc:spChg>
        <pc:spChg chg="del">
          <ac:chgData name="Feri Carnu" userId="dca46e56149d37a2" providerId="LiveId" clId="{F4DFB71F-A99C-4416-BDCE-ACE22599A145}" dt="2023-09-17T16:27:31.503" v="1925" actId="478"/>
          <ac:spMkLst>
            <pc:docMk/>
            <pc:sldMk cId="2184280069" sldId="1224"/>
            <ac:spMk id="23" creationId="{5F3440FB-00D4-D93E-10A6-EEAA928B63C5}"/>
          </ac:spMkLst>
        </pc:spChg>
        <pc:spChg chg="add mod">
          <ac:chgData name="Feri Carnu" userId="dca46e56149d37a2" providerId="LiveId" clId="{F4DFB71F-A99C-4416-BDCE-ACE22599A145}" dt="2023-09-18T09:48:19.322" v="2561" actId="1076"/>
          <ac:spMkLst>
            <pc:docMk/>
            <pc:sldMk cId="2184280069" sldId="1224"/>
            <ac:spMk id="25" creationId="{2939CCB9-4735-EF5E-2482-779A7239AF8B}"/>
          </ac:spMkLst>
        </pc:spChg>
        <pc:grpChg chg="del">
          <ac:chgData name="Feri Carnu" userId="dca46e56149d37a2" providerId="LiveId" clId="{F4DFB71F-A99C-4416-BDCE-ACE22599A145}" dt="2023-09-17T16:27:29.981" v="1924" actId="478"/>
          <ac:grpSpMkLst>
            <pc:docMk/>
            <pc:sldMk cId="2184280069" sldId="1224"/>
            <ac:grpSpMk id="33" creationId="{8E73F95C-A2B3-4AD1-7E08-24D3BFD3D2F4}"/>
          </ac:grpSpMkLst>
        </pc:grpChg>
        <pc:grpChg chg="del">
          <ac:chgData name="Feri Carnu" userId="dca46e56149d37a2" providerId="LiveId" clId="{F4DFB71F-A99C-4416-BDCE-ACE22599A145}" dt="2023-09-17T16:27:29.981" v="1924" actId="478"/>
          <ac:grpSpMkLst>
            <pc:docMk/>
            <pc:sldMk cId="2184280069" sldId="1224"/>
            <ac:grpSpMk id="34" creationId="{1CB939FF-CD91-7BE6-4BE2-519488C6D31A}"/>
          </ac:grpSpMkLst>
        </pc:grpChg>
        <pc:grpChg chg="del">
          <ac:chgData name="Feri Carnu" userId="dca46e56149d37a2" providerId="LiveId" clId="{F4DFB71F-A99C-4416-BDCE-ACE22599A145}" dt="2023-09-17T16:27:29.981" v="1924" actId="478"/>
          <ac:grpSpMkLst>
            <pc:docMk/>
            <pc:sldMk cId="2184280069" sldId="1224"/>
            <ac:grpSpMk id="35" creationId="{579A7F28-D091-CC84-A574-43E9C064A926}"/>
          </ac:grpSpMkLst>
        </pc:grpChg>
        <pc:grpChg chg="del">
          <ac:chgData name="Feri Carnu" userId="dca46e56149d37a2" providerId="LiveId" clId="{F4DFB71F-A99C-4416-BDCE-ACE22599A145}" dt="2023-09-17T16:27:29.981" v="1924" actId="478"/>
          <ac:grpSpMkLst>
            <pc:docMk/>
            <pc:sldMk cId="2184280069" sldId="1224"/>
            <ac:grpSpMk id="36" creationId="{8DFEDA30-BED3-6438-6607-B24E97114E4C}"/>
          </ac:grpSpMkLst>
        </pc:grpChg>
        <pc:grpChg chg="del">
          <ac:chgData name="Feri Carnu" userId="dca46e56149d37a2" providerId="LiveId" clId="{F4DFB71F-A99C-4416-BDCE-ACE22599A145}" dt="2023-09-17T16:27:29.981" v="1924" actId="478"/>
          <ac:grpSpMkLst>
            <pc:docMk/>
            <pc:sldMk cId="2184280069" sldId="1224"/>
            <ac:grpSpMk id="37" creationId="{4F19E3EE-4411-9F6C-C387-860295E3A165}"/>
          </ac:grpSpMkLst>
        </pc:grpChg>
        <pc:picChg chg="add del mod">
          <ac:chgData name="Feri Carnu" userId="dca46e56149d37a2" providerId="LiveId" clId="{F4DFB71F-A99C-4416-BDCE-ACE22599A145}" dt="2023-09-17T16:25:47.608" v="1849" actId="478"/>
          <ac:picMkLst>
            <pc:docMk/>
            <pc:sldMk cId="2184280069" sldId="1224"/>
            <ac:picMk id="5" creationId="{210B7B7D-17FE-7597-C36C-425540622A20}"/>
          </ac:picMkLst>
        </pc:picChg>
        <pc:picChg chg="add mod modCrop">
          <ac:chgData name="Feri Carnu" userId="dca46e56149d37a2" providerId="LiveId" clId="{F4DFB71F-A99C-4416-BDCE-ACE22599A145}" dt="2023-09-17T16:40:21.025" v="1970" actId="208"/>
          <ac:picMkLst>
            <pc:docMk/>
            <pc:sldMk cId="2184280069" sldId="1224"/>
            <ac:picMk id="14" creationId="{642C3F1A-51A7-758B-4C21-5EFB984D618A}"/>
          </ac:picMkLst>
        </pc:picChg>
        <pc:picChg chg="add mod">
          <ac:chgData name="Feri Carnu" userId="dca46e56149d37a2" providerId="LiveId" clId="{F4DFB71F-A99C-4416-BDCE-ACE22599A145}" dt="2023-09-17T16:38:18.818" v="1963" actId="208"/>
          <ac:picMkLst>
            <pc:docMk/>
            <pc:sldMk cId="2184280069" sldId="1224"/>
            <ac:picMk id="20" creationId="{0572EFB6-960F-FF1B-0ABF-112F04DE974D}"/>
          </ac:picMkLst>
        </pc:picChg>
        <pc:picChg chg="add mod modCrop">
          <ac:chgData name="Feri Carnu" userId="dca46e56149d37a2" providerId="LiveId" clId="{F4DFB71F-A99C-4416-BDCE-ACE22599A145}" dt="2023-09-17T16:39:15.714" v="1969" actId="1076"/>
          <ac:picMkLst>
            <pc:docMk/>
            <pc:sldMk cId="2184280069" sldId="1224"/>
            <ac:picMk id="22" creationId="{5D719898-287D-BF5A-42F1-64EE374957A3}"/>
          </ac:picMkLst>
        </pc:picChg>
      </pc:sldChg>
      <pc:sldChg chg="modSp new del mod">
        <pc:chgData name="Feri Carnu" userId="dca46e56149d37a2" providerId="LiveId" clId="{F4DFB71F-A99C-4416-BDCE-ACE22599A145}" dt="2023-09-17T16:23:17.984" v="1784" actId="47"/>
        <pc:sldMkLst>
          <pc:docMk/>
          <pc:sldMk cId="2509695480" sldId="1224"/>
        </pc:sldMkLst>
        <pc:spChg chg="mod">
          <ac:chgData name="Feri Carnu" userId="dca46e56149d37a2" providerId="LiveId" clId="{F4DFB71F-A99C-4416-BDCE-ACE22599A145}" dt="2023-09-17T16:23:08.469" v="1783" actId="20577"/>
          <ac:spMkLst>
            <pc:docMk/>
            <pc:sldMk cId="2509695480" sldId="1224"/>
            <ac:spMk id="2" creationId="{E78475E3-6C0C-320E-7BB8-BF8B71327E37}"/>
          </ac:spMkLst>
        </pc:spChg>
      </pc:sldChg>
      <pc:sldChg chg="addSp delSp modSp add mod ord">
        <pc:chgData name="Feri Carnu" userId="dca46e56149d37a2" providerId="LiveId" clId="{F4DFB71F-A99C-4416-BDCE-ACE22599A145}" dt="2023-09-18T09:48:57.767" v="2565" actId="207"/>
        <pc:sldMkLst>
          <pc:docMk/>
          <pc:sldMk cId="1962327317" sldId="1225"/>
        </pc:sldMkLst>
        <pc:spChg chg="add del mod">
          <ac:chgData name="Feri Carnu" userId="dca46e56149d37a2" providerId="LiveId" clId="{F4DFB71F-A99C-4416-BDCE-ACE22599A145}" dt="2023-09-17T16:59:26.344" v="2094" actId="21"/>
          <ac:spMkLst>
            <pc:docMk/>
            <pc:sldMk cId="1962327317" sldId="1225"/>
            <ac:spMk id="2" creationId="{137B956D-9424-434C-9E96-7028D3B0AEA3}"/>
          </ac:spMkLst>
        </pc:spChg>
        <pc:spChg chg="add del mod">
          <ac:chgData name="Feri Carnu" userId="dca46e56149d37a2" providerId="LiveId" clId="{F4DFB71F-A99C-4416-BDCE-ACE22599A145}" dt="2023-09-17T16:59:26.344" v="2094" actId="21"/>
          <ac:spMkLst>
            <pc:docMk/>
            <pc:sldMk cId="1962327317" sldId="1225"/>
            <ac:spMk id="3" creationId="{19ACFFED-714D-9D0B-7237-FA755F66515A}"/>
          </ac:spMkLst>
        </pc:spChg>
        <pc:spChg chg="add del mod">
          <ac:chgData name="Feri Carnu" userId="dca46e56149d37a2" providerId="LiveId" clId="{F4DFB71F-A99C-4416-BDCE-ACE22599A145}" dt="2023-09-17T16:59:26.344" v="2094" actId="21"/>
          <ac:spMkLst>
            <pc:docMk/>
            <pc:sldMk cId="1962327317" sldId="1225"/>
            <ac:spMk id="5" creationId="{92878791-0D99-5B27-92A6-D3CE95B93727}"/>
          </ac:spMkLst>
        </pc:spChg>
        <pc:spChg chg="mod">
          <ac:chgData name="Feri Carnu" userId="dca46e56149d37a2" providerId="LiveId" clId="{F4DFB71F-A99C-4416-BDCE-ACE22599A145}" dt="2023-09-17T16:42:09.452" v="1998" actId="20577"/>
          <ac:spMkLst>
            <pc:docMk/>
            <pc:sldMk cId="1962327317" sldId="1225"/>
            <ac:spMk id="6" creationId="{A12F442D-7CD2-F399-1EF0-2AF03A957FEF}"/>
          </ac:spMkLst>
        </pc:spChg>
        <pc:spChg chg="mod">
          <ac:chgData name="Feri Carnu" userId="dca46e56149d37a2" providerId="LiveId" clId="{F4DFB71F-A99C-4416-BDCE-ACE22599A145}" dt="2023-09-18T09:48:57.767" v="2565" actId="207"/>
          <ac:spMkLst>
            <pc:docMk/>
            <pc:sldMk cId="1962327317" sldId="1225"/>
            <ac:spMk id="9" creationId="{6CFDB929-DAA8-0309-E1AC-922F0ADE5FA8}"/>
          </ac:spMkLst>
        </pc:spChg>
        <pc:spChg chg="mod">
          <ac:chgData name="Feri Carnu" userId="dca46e56149d37a2" providerId="LiveId" clId="{F4DFB71F-A99C-4416-BDCE-ACE22599A145}" dt="2023-09-17T16:42:30.946" v="2002" actId="5793"/>
          <ac:spMkLst>
            <pc:docMk/>
            <pc:sldMk cId="1962327317" sldId="1225"/>
            <ac:spMk id="25" creationId="{2939CCB9-4735-EF5E-2482-779A7239AF8B}"/>
          </ac:spMkLst>
        </pc:spChg>
        <pc:spChg chg="add del mod">
          <ac:chgData name="Feri Carnu" userId="dca46e56149d37a2" providerId="LiveId" clId="{F4DFB71F-A99C-4416-BDCE-ACE22599A145}" dt="2023-09-17T16:59:26.344" v="2094" actId="21"/>
          <ac:spMkLst>
            <pc:docMk/>
            <pc:sldMk cId="1962327317" sldId="1225"/>
            <ac:spMk id="27" creationId="{06E3E477-FAE4-D956-6D78-38B6F19EBC0E}"/>
          </ac:spMkLst>
        </pc:spChg>
        <pc:spChg chg="add mod">
          <ac:chgData name="Feri Carnu" userId="dca46e56149d37a2" providerId="LiveId" clId="{F4DFB71F-A99C-4416-BDCE-ACE22599A145}" dt="2023-09-17T17:02:38.844" v="2387" actId="1076"/>
          <ac:spMkLst>
            <pc:docMk/>
            <pc:sldMk cId="1962327317" sldId="1225"/>
            <ac:spMk id="39" creationId="{84E9626D-27F2-9F9E-6B47-ADA939CCAE65}"/>
          </ac:spMkLst>
        </pc:spChg>
        <pc:spChg chg="add mod">
          <ac:chgData name="Feri Carnu" userId="dca46e56149d37a2" providerId="LiveId" clId="{F4DFB71F-A99C-4416-BDCE-ACE22599A145}" dt="2023-09-17T17:02:38.844" v="2387" actId="1076"/>
          <ac:spMkLst>
            <pc:docMk/>
            <pc:sldMk cId="1962327317" sldId="1225"/>
            <ac:spMk id="40" creationId="{D4E5A74D-B617-44FE-59B4-D239B63E70C4}"/>
          </ac:spMkLst>
        </pc:spChg>
        <pc:spChg chg="add mod">
          <ac:chgData name="Feri Carnu" userId="dca46e56149d37a2" providerId="LiveId" clId="{F4DFB71F-A99C-4416-BDCE-ACE22599A145}" dt="2023-09-17T17:02:38.844" v="2387" actId="1076"/>
          <ac:spMkLst>
            <pc:docMk/>
            <pc:sldMk cId="1962327317" sldId="1225"/>
            <ac:spMk id="41" creationId="{249144CD-FC8F-14B0-79D1-3FEFF2E1A3B1}"/>
          </ac:spMkLst>
        </pc:spChg>
        <pc:spChg chg="add mod">
          <ac:chgData name="Feri Carnu" userId="dca46e56149d37a2" providerId="LiveId" clId="{F4DFB71F-A99C-4416-BDCE-ACE22599A145}" dt="2023-09-17T17:02:38.844" v="2387" actId="1076"/>
          <ac:spMkLst>
            <pc:docMk/>
            <pc:sldMk cId="1962327317" sldId="1225"/>
            <ac:spMk id="43" creationId="{02F75CCF-4250-A7A2-6011-F69EC479FBA7}"/>
          </ac:spMkLst>
        </pc:spChg>
        <pc:picChg chg="del">
          <ac:chgData name="Feri Carnu" userId="dca46e56149d37a2" providerId="LiveId" clId="{F4DFB71F-A99C-4416-BDCE-ACE22599A145}" dt="2023-09-17T16:42:33.889" v="2003" actId="478"/>
          <ac:picMkLst>
            <pc:docMk/>
            <pc:sldMk cId="1962327317" sldId="1225"/>
            <ac:picMk id="14" creationId="{642C3F1A-51A7-758B-4C21-5EFB984D618A}"/>
          </ac:picMkLst>
        </pc:picChg>
        <pc:picChg chg="del">
          <ac:chgData name="Feri Carnu" userId="dca46e56149d37a2" providerId="LiveId" clId="{F4DFB71F-A99C-4416-BDCE-ACE22599A145}" dt="2023-09-17T16:42:35.324" v="2004" actId="478"/>
          <ac:picMkLst>
            <pc:docMk/>
            <pc:sldMk cId="1962327317" sldId="1225"/>
            <ac:picMk id="20" creationId="{0572EFB6-960F-FF1B-0ABF-112F04DE974D}"/>
          </ac:picMkLst>
        </pc:picChg>
        <pc:picChg chg="del">
          <ac:chgData name="Feri Carnu" userId="dca46e56149d37a2" providerId="LiveId" clId="{F4DFB71F-A99C-4416-BDCE-ACE22599A145}" dt="2023-09-17T16:42:36.815" v="2005" actId="478"/>
          <ac:picMkLst>
            <pc:docMk/>
            <pc:sldMk cId="1962327317" sldId="1225"/>
            <ac:picMk id="22" creationId="{5D719898-287D-BF5A-42F1-64EE374957A3}"/>
          </ac:picMkLst>
        </pc:picChg>
        <pc:cxnChg chg="add del mod">
          <ac:chgData name="Feri Carnu" userId="dca46e56149d37a2" providerId="LiveId" clId="{F4DFB71F-A99C-4416-BDCE-ACE22599A145}" dt="2023-09-17T16:59:26.344" v="2094" actId="21"/>
          <ac:cxnSpMkLst>
            <pc:docMk/>
            <pc:sldMk cId="1962327317" sldId="1225"/>
            <ac:cxnSpMk id="7" creationId="{34679E1D-85FE-4705-CCFE-384450C9524D}"/>
          </ac:cxnSpMkLst>
        </pc:cxnChg>
        <pc:cxnChg chg="add del mod ord">
          <ac:chgData name="Feri Carnu" userId="dca46e56149d37a2" providerId="LiveId" clId="{F4DFB71F-A99C-4416-BDCE-ACE22599A145}" dt="2023-09-17T16:59:26.344" v="2094" actId="21"/>
          <ac:cxnSpMkLst>
            <pc:docMk/>
            <pc:sldMk cId="1962327317" sldId="1225"/>
            <ac:cxnSpMk id="8" creationId="{5BC8C204-4969-B5C0-5F65-EA00F025D379}"/>
          </ac:cxnSpMkLst>
        </pc:cxnChg>
        <pc:cxnChg chg="add del mod ord">
          <ac:chgData name="Feri Carnu" userId="dca46e56149d37a2" providerId="LiveId" clId="{F4DFB71F-A99C-4416-BDCE-ACE22599A145}" dt="2023-09-17T16:59:26.344" v="2094" actId="21"/>
          <ac:cxnSpMkLst>
            <pc:docMk/>
            <pc:sldMk cId="1962327317" sldId="1225"/>
            <ac:cxnSpMk id="28" creationId="{C16DF021-D111-48E1-E13C-A35B9C00B2D6}"/>
          </ac:cxnSpMkLst>
        </pc:cxnChg>
        <pc:cxnChg chg="add mod">
          <ac:chgData name="Feri Carnu" userId="dca46e56149d37a2" providerId="LiveId" clId="{F4DFB71F-A99C-4416-BDCE-ACE22599A145}" dt="2023-09-17T17:02:38.844" v="2387" actId="1076"/>
          <ac:cxnSpMkLst>
            <pc:docMk/>
            <pc:sldMk cId="1962327317" sldId="1225"/>
            <ac:cxnSpMk id="37" creationId="{6E72A3CC-E640-E70F-E7A8-A20BEA7852B8}"/>
          </ac:cxnSpMkLst>
        </pc:cxnChg>
        <pc:cxnChg chg="add mod">
          <ac:chgData name="Feri Carnu" userId="dca46e56149d37a2" providerId="LiveId" clId="{F4DFB71F-A99C-4416-BDCE-ACE22599A145}" dt="2023-09-17T17:02:38.844" v="2387" actId="1076"/>
          <ac:cxnSpMkLst>
            <pc:docMk/>
            <pc:sldMk cId="1962327317" sldId="1225"/>
            <ac:cxnSpMk id="38" creationId="{6403E833-8968-2A79-B42A-9FBB866FE565}"/>
          </ac:cxnSpMkLst>
        </pc:cxnChg>
        <pc:cxnChg chg="add mod">
          <ac:chgData name="Feri Carnu" userId="dca46e56149d37a2" providerId="LiveId" clId="{F4DFB71F-A99C-4416-BDCE-ACE22599A145}" dt="2023-09-17T17:02:38.844" v="2387" actId="1076"/>
          <ac:cxnSpMkLst>
            <pc:docMk/>
            <pc:sldMk cId="1962327317" sldId="1225"/>
            <ac:cxnSpMk id="42" creationId="{33CFA500-0A0D-31E4-1927-A34139CBD4F8}"/>
          </ac:cxnSpMkLst>
        </pc:cxnChg>
      </pc:sldChg>
      <pc:sldChg chg="addSp delSp modSp add mod ord modTransition">
        <pc:chgData name="Feri Carnu" userId="dca46e56149d37a2" providerId="LiveId" clId="{F4DFB71F-A99C-4416-BDCE-ACE22599A145}" dt="2023-09-18T09:49:07.023" v="2567" actId="207"/>
        <pc:sldMkLst>
          <pc:docMk/>
          <pc:sldMk cId="634002242" sldId="1226"/>
        </pc:sldMkLst>
        <pc:spChg chg="del">
          <ac:chgData name="Feri Carnu" userId="dca46e56149d37a2" providerId="LiveId" clId="{F4DFB71F-A99C-4416-BDCE-ACE22599A145}" dt="2023-09-17T16:49:26.305" v="2085" actId="478"/>
          <ac:spMkLst>
            <pc:docMk/>
            <pc:sldMk cId="634002242" sldId="1226"/>
            <ac:spMk id="2" creationId="{137B956D-9424-434C-9E96-7028D3B0AEA3}"/>
          </ac:spMkLst>
        </pc:spChg>
        <pc:spChg chg="del">
          <ac:chgData name="Feri Carnu" userId="dca46e56149d37a2" providerId="LiveId" clId="{F4DFB71F-A99C-4416-BDCE-ACE22599A145}" dt="2023-09-17T16:49:26.305" v="2085" actId="478"/>
          <ac:spMkLst>
            <pc:docMk/>
            <pc:sldMk cId="634002242" sldId="1226"/>
            <ac:spMk id="3" creationId="{19ACFFED-714D-9D0B-7237-FA755F66515A}"/>
          </ac:spMkLst>
        </pc:spChg>
        <pc:spChg chg="del">
          <ac:chgData name="Feri Carnu" userId="dca46e56149d37a2" providerId="LiveId" clId="{F4DFB71F-A99C-4416-BDCE-ACE22599A145}" dt="2023-09-17T16:49:26.305" v="2085" actId="478"/>
          <ac:spMkLst>
            <pc:docMk/>
            <pc:sldMk cId="634002242" sldId="1226"/>
            <ac:spMk id="5" creationId="{92878791-0D99-5B27-92A6-D3CE95B93727}"/>
          </ac:spMkLst>
        </pc:spChg>
        <pc:spChg chg="mod">
          <ac:chgData name="Feri Carnu" userId="dca46e56149d37a2" providerId="LiveId" clId="{F4DFB71F-A99C-4416-BDCE-ACE22599A145}" dt="2023-09-17T17:01:54.246" v="2384" actId="1076"/>
          <ac:spMkLst>
            <pc:docMk/>
            <pc:sldMk cId="634002242" sldId="1226"/>
            <ac:spMk id="6" creationId="{A12F442D-7CD2-F399-1EF0-2AF03A957FEF}"/>
          </ac:spMkLst>
        </pc:spChg>
        <pc:spChg chg="mod">
          <ac:chgData name="Feri Carnu" userId="dca46e56149d37a2" providerId="LiveId" clId="{F4DFB71F-A99C-4416-BDCE-ACE22599A145}" dt="2023-09-18T09:49:07.023" v="2567" actId="207"/>
          <ac:spMkLst>
            <pc:docMk/>
            <pc:sldMk cId="634002242" sldId="1226"/>
            <ac:spMk id="9" creationId="{6CFDB929-DAA8-0309-E1AC-922F0ADE5FA8}"/>
          </ac:spMkLst>
        </pc:spChg>
        <pc:spChg chg="add mod">
          <ac:chgData name="Feri Carnu" userId="dca46e56149d37a2" providerId="LiveId" clId="{F4DFB71F-A99C-4416-BDCE-ACE22599A145}" dt="2023-09-17T17:17:45.781" v="2489" actId="164"/>
          <ac:spMkLst>
            <pc:docMk/>
            <pc:sldMk cId="634002242" sldId="1226"/>
            <ac:spMk id="12" creationId="{3C150B68-F7CC-F51C-B851-6C5B5673E559}"/>
          </ac:spMkLst>
        </pc:spChg>
        <pc:spChg chg="add mod">
          <ac:chgData name="Feri Carnu" userId="dca46e56149d37a2" providerId="LiveId" clId="{F4DFB71F-A99C-4416-BDCE-ACE22599A145}" dt="2023-09-17T17:17:45.781" v="2489" actId="164"/>
          <ac:spMkLst>
            <pc:docMk/>
            <pc:sldMk cId="634002242" sldId="1226"/>
            <ac:spMk id="13" creationId="{764E5790-7743-0633-8275-8747256CB607}"/>
          </ac:spMkLst>
        </pc:spChg>
        <pc:spChg chg="add mod">
          <ac:chgData name="Feri Carnu" userId="dca46e56149d37a2" providerId="LiveId" clId="{F4DFB71F-A99C-4416-BDCE-ACE22599A145}" dt="2023-09-17T17:17:45.781" v="2489" actId="164"/>
          <ac:spMkLst>
            <pc:docMk/>
            <pc:sldMk cId="634002242" sldId="1226"/>
            <ac:spMk id="14" creationId="{BF0D263B-5D25-45AF-9F88-C1621C33D7C5}"/>
          </ac:spMkLst>
        </pc:spChg>
        <pc:spChg chg="add mod">
          <ac:chgData name="Feri Carnu" userId="dca46e56149d37a2" providerId="LiveId" clId="{F4DFB71F-A99C-4416-BDCE-ACE22599A145}" dt="2023-09-17T17:17:45.781" v="2489" actId="164"/>
          <ac:spMkLst>
            <pc:docMk/>
            <pc:sldMk cId="634002242" sldId="1226"/>
            <ac:spMk id="16" creationId="{182006AD-F47A-A0A3-A3E7-FBE2C1949137}"/>
          </ac:spMkLst>
        </pc:spChg>
        <pc:spChg chg="add mod">
          <ac:chgData name="Feri Carnu" userId="dca46e56149d37a2" providerId="LiveId" clId="{F4DFB71F-A99C-4416-BDCE-ACE22599A145}" dt="2023-09-17T17:17:45.781" v="2489" actId="164"/>
          <ac:spMkLst>
            <pc:docMk/>
            <pc:sldMk cId="634002242" sldId="1226"/>
            <ac:spMk id="17" creationId="{4597D552-1DDE-BA5C-7DF0-D69A55737EA3}"/>
          </ac:spMkLst>
        </pc:spChg>
        <pc:spChg chg="add mod ord">
          <ac:chgData name="Feri Carnu" userId="dca46e56149d37a2" providerId="LiveId" clId="{F4DFB71F-A99C-4416-BDCE-ACE22599A145}" dt="2023-09-17T17:17:45.781" v="2489" actId="164"/>
          <ac:spMkLst>
            <pc:docMk/>
            <pc:sldMk cId="634002242" sldId="1226"/>
            <ac:spMk id="24" creationId="{ABDFB309-9BB6-316E-BE5C-63572046FDD5}"/>
          </ac:spMkLst>
        </pc:spChg>
        <pc:spChg chg="mod">
          <ac:chgData name="Feri Carnu" userId="dca46e56149d37a2" providerId="LiveId" clId="{F4DFB71F-A99C-4416-BDCE-ACE22599A145}" dt="2023-09-17T17:09:02.806" v="2458" actId="14100"/>
          <ac:spMkLst>
            <pc:docMk/>
            <pc:sldMk cId="634002242" sldId="1226"/>
            <ac:spMk id="25" creationId="{2939CCB9-4735-EF5E-2482-779A7239AF8B}"/>
          </ac:spMkLst>
        </pc:spChg>
        <pc:spChg chg="del">
          <ac:chgData name="Feri Carnu" userId="dca46e56149d37a2" providerId="LiveId" clId="{F4DFB71F-A99C-4416-BDCE-ACE22599A145}" dt="2023-09-17T16:49:26.305" v="2085" actId="478"/>
          <ac:spMkLst>
            <pc:docMk/>
            <pc:sldMk cId="634002242" sldId="1226"/>
            <ac:spMk id="27" creationId="{06E3E477-FAE4-D956-6D78-38B6F19EBC0E}"/>
          </ac:spMkLst>
        </pc:spChg>
        <pc:grpChg chg="add del mod">
          <ac:chgData name="Feri Carnu" userId="dca46e56149d37a2" providerId="LiveId" clId="{F4DFB71F-A99C-4416-BDCE-ACE22599A145}" dt="2023-09-17T17:17:46.600" v="2490" actId="21"/>
          <ac:grpSpMkLst>
            <pc:docMk/>
            <pc:sldMk cId="634002242" sldId="1226"/>
            <ac:grpSpMk id="26" creationId="{9CDCC3E4-D475-3D45-BACD-BBC4F306DC3D}"/>
          </ac:grpSpMkLst>
        </pc:grpChg>
        <pc:cxnChg chg="del mod">
          <ac:chgData name="Feri Carnu" userId="dca46e56149d37a2" providerId="LiveId" clId="{F4DFB71F-A99C-4416-BDCE-ACE22599A145}" dt="2023-09-17T16:49:26.305" v="2085" actId="478"/>
          <ac:cxnSpMkLst>
            <pc:docMk/>
            <pc:sldMk cId="634002242" sldId="1226"/>
            <ac:cxnSpMk id="7" creationId="{34679E1D-85FE-4705-CCFE-384450C9524D}"/>
          </ac:cxnSpMkLst>
        </pc:cxnChg>
        <pc:cxnChg chg="del mod">
          <ac:chgData name="Feri Carnu" userId="dca46e56149d37a2" providerId="LiveId" clId="{F4DFB71F-A99C-4416-BDCE-ACE22599A145}" dt="2023-09-17T16:49:26.305" v="2085" actId="478"/>
          <ac:cxnSpMkLst>
            <pc:docMk/>
            <pc:sldMk cId="634002242" sldId="1226"/>
            <ac:cxnSpMk id="8" creationId="{5BC8C204-4969-B5C0-5F65-EA00F025D379}"/>
          </ac:cxnSpMkLst>
        </pc:cxnChg>
        <pc:cxnChg chg="add mod">
          <ac:chgData name="Feri Carnu" userId="dca46e56149d37a2" providerId="LiveId" clId="{F4DFB71F-A99C-4416-BDCE-ACE22599A145}" dt="2023-09-17T17:17:46.600" v="2490" actId="21"/>
          <ac:cxnSpMkLst>
            <pc:docMk/>
            <pc:sldMk cId="634002242" sldId="1226"/>
            <ac:cxnSpMk id="10" creationId="{B9ABBF1C-93D8-1D46-26FD-5F6288BE9A15}"/>
          </ac:cxnSpMkLst>
        </pc:cxnChg>
        <pc:cxnChg chg="add mod">
          <ac:chgData name="Feri Carnu" userId="dca46e56149d37a2" providerId="LiveId" clId="{F4DFB71F-A99C-4416-BDCE-ACE22599A145}" dt="2023-09-17T17:17:46.600" v="2490" actId="21"/>
          <ac:cxnSpMkLst>
            <pc:docMk/>
            <pc:sldMk cId="634002242" sldId="1226"/>
            <ac:cxnSpMk id="11" creationId="{43B481DA-93BF-BD61-F972-4723DFC42E61}"/>
          </ac:cxnSpMkLst>
        </pc:cxnChg>
        <pc:cxnChg chg="add mod">
          <ac:chgData name="Feri Carnu" userId="dca46e56149d37a2" providerId="LiveId" clId="{F4DFB71F-A99C-4416-BDCE-ACE22599A145}" dt="2023-09-17T17:17:46.600" v="2490" actId="21"/>
          <ac:cxnSpMkLst>
            <pc:docMk/>
            <pc:sldMk cId="634002242" sldId="1226"/>
            <ac:cxnSpMk id="15" creationId="{6A32DEAB-1980-6A00-BC44-34118299A24C}"/>
          </ac:cxnSpMkLst>
        </pc:cxnChg>
        <pc:cxnChg chg="add mod">
          <ac:chgData name="Feri Carnu" userId="dca46e56149d37a2" providerId="LiveId" clId="{F4DFB71F-A99C-4416-BDCE-ACE22599A145}" dt="2023-09-17T17:17:46.600" v="2490" actId="21"/>
          <ac:cxnSpMkLst>
            <pc:docMk/>
            <pc:sldMk cId="634002242" sldId="1226"/>
            <ac:cxnSpMk id="18" creationId="{B2CCFDFB-26FE-D56F-A4AA-51F21802C71C}"/>
          </ac:cxnSpMkLst>
        </pc:cxnChg>
        <pc:cxnChg chg="del mod">
          <ac:chgData name="Feri Carnu" userId="dca46e56149d37a2" providerId="LiveId" clId="{F4DFB71F-A99C-4416-BDCE-ACE22599A145}" dt="2023-09-17T16:49:26.305" v="2085" actId="478"/>
          <ac:cxnSpMkLst>
            <pc:docMk/>
            <pc:sldMk cId="634002242" sldId="1226"/>
            <ac:cxnSpMk id="28" creationId="{C16DF021-D111-48E1-E13C-A35B9C00B2D6}"/>
          </ac:cxnSpMkLst>
        </pc:cxnChg>
      </pc:sldChg>
      <pc:sldChg chg="addSp delSp modSp add mod ord">
        <pc:chgData name="Feri Carnu" userId="dca46e56149d37a2" providerId="LiveId" clId="{F4DFB71F-A99C-4416-BDCE-ACE22599A145}" dt="2023-09-18T09:49:17.796" v="2569" actId="207"/>
        <pc:sldMkLst>
          <pc:docMk/>
          <pc:sldMk cId="2628047589" sldId="1227"/>
        </pc:sldMkLst>
        <pc:spChg chg="mod">
          <ac:chgData name="Feri Carnu" userId="dca46e56149d37a2" providerId="LiveId" clId="{F4DFB71F-A99C-4416-BDCE-ACE22599A145}" dt="2023-09-17T17:03:55.658" v="2445" actId="20577"/>
          <ac:spMkLst>
            <pc:docMk/>
            <pc:sldMk cId="2628047589" sldId="1227"/>
            <ac:spMk id="6" creationId="{A12F442D-7CD2-F399-1EF0-2AF03A957FEF}"/>
          </ac:spMkLst>
        </pc:spChg>
        <pc:spChg chg="mod">
          <ac:chgData name="Feri Carnu" userId="dca46e56149d37a2" providerId="LiveId" clId="{F4DFB71F-A99C-4416-BDCE-ACE22599A145}" dt="2023-09-18T09:49:17.796" v="2569" actId="207"/>
          <ac:spMkLst>
            <pc:docMk/>
            <pc:sldMk cId="2628047589" sldId="1227"/>
            <ac:spMk id="9" creationId="{6CFDB929-DAA8-0309-E1AC-922F0ADE5FA8}"/>
          </ac:spMkLst>
        </pc:spChg>
        <pc:spChg chg="del">
          <ac:chgData name="Feri Carnu" userId="dca46e56149d37a2" providerId="LiveId" clId="{F4DFB71F-A99C-4416-BDCE-ACE22599A145}" dt="2023-09-17T17:04:35.264" v="2448" actId="478"/>
          <ac:spMkLst>
            <pc:docMk/>
            <pc:sldMk cId="2628047589" sldId="1227"/>
            <ac:spMk id="12" creationId="{3C150B68-F7CC-F51C-B851-6C5B5673E559}"/>
          </ac:spMkLst>
        </pc:spChg>
        <pc:spChg chg="del">
          <ac:chgData name="Feri Carnu" userId="dca46e56149d37a2" providerId="LiveId" clId="{F4DFB71F-A99C-4416-BDCE-ACE22599A145}" dt="2023-09-17T17:04:35.264" v="2448" actId="478"/>
          <ac:spMkLst>
            <pc:docMk/>
            <pc:sldMk cId="2628047589" sldId="1227"/>
            <ac:spMk id="13" creationId="{764E5790-7743-0633-8275-8747256CB607}"/>
          </ac:spMkLst>
        </pc:spChg>
        <pc:spChg chg="del">
          <ac:chgData name="Feri Carnu" userId="dca46e56149d37a2" providerId="LiveId" clId="{F4DFB71F-A99C-4416-BDCE-ACE22599A145}" dt="2023-09-17T17:04:35.264" v="2448" actId="478"/>
          <ac:spMkLst>
            <pc:docMk/>
            <pc:sldMk cId="2628047589" sldId="1227"/>
            <ac:spMk id="14" creationId="{BF0D263B-5D25-45AF-9F88-C1621C33D7C5}"/>
          </ac:spMkLst>
        </pc:spChg>
        <pc:spChg chg="del">
          <ac:chgData name="Feri Carnu" userId="dca46e56149d37a2" providerId="LiveId" clId="{F4DFB71F-A99C-4416-BDCE-ACE22599A145}" dt="2023-09-17T17:04:35.264" v="2448" actId="478"/>
          <ac:spMkLst>
            <pc:docMk/>
            <pc:sldMk cId="2628047589" sldId="1227"/>
            <ac:spMk id="16" creationId="{182006AD-F47A-A0A3-A3E7-FBE2C1949137}"/>
          </ac:spMkLst>
        </pc:spChg>
        <pc:spChg chg="del mod">
          <ac:chgData name="Feri Carnu" userId="dca46e56149d37a2" providerId="LiveId" clId="{F4DFB71F-A99C-4416-BDCE-ACE22599A145}" dt="2023-09-17T17:04:35.264" v="2448" actId="478"/>
          <ac:spMkLst>
            <pc:docMk/>
            <pc:sldMk cId="2628047589" sldId="1227"/>
            <ac:spMk id="17" creationId="{4597D552-1DDE-BA5C-7DF0-D69A55737EA3}"/>
          </ac:spMkLst>
        </pc:spChg>
        <pc:spChg chg="mod">
          <ac:chgData name="Feri Carnu" userId="dca46e56149d37a2" providerId="LiveId" clId="{F4DFB71F-A99C-4416-BDCE-ACE22599A145}" dt="2023-09-17T17:04:10.637" v="2446"/>
          <ac:spMkLst>
            <pc:docMk/>
            <pc:sldMk cId="2628047589" sldId="1227"/>
            <ac:spMk id="25" creationId="{2939CCB9-4735-EF5E-2482-779A7239AF8B}"/>
          </ac:spMkLst>
        </pc:spChg>
        <pc:picChg chg="add del mod">
          <ac:chgData name="Feri Carnu" userId="dca46e56149d37a2" providerId="LiveId" clId="{F4DFB71F-A99C-4416-BDCE-ACE22599A145}" dt="2023-09-17T17:13:21.054" v="2475" actId="478"/>
          <ac:picMkLst>
            <pc:docMk/>
            <pc:sldMk cId="2628047589" sldId="1227"/>
            <ac:picMk id="5" creationId="{38D5D4E5-CBD5-35C2-52E7-6BB2F725A209}"/>
          </ac:picMkLst>
        </pc:picChg>
        <pc:picChg chg="add mod modCrop">
          <ac:chgData name="Feri Carnu" userId="dca46e56149d37a2" providerId="LiveId" clId="{F4DFB71F-A99C-4416-BDCE-ACE22599A145}" dt="2023-09-17T17:15:27.818" v="2488" actId="1076"/>
          <ac:picMkLst>
            <pc:docMk/>
            <pc:sldMk cId="2628047589" sldId="1227"/>
            <ac:picMk id="7" creationId="{CDBD0F95-AC9D-6408-FDD2-6E619C378033}"/>
          </ac:picMkLst>
        </pc:picChg>
        <pc:picChg chg="add mod modCrop">
          <ac:chgData name="Feri Carnu" userId="dca46e56149d37a2" providerId="LiveId" clId="{F4DFB71F-A99C-4416-BDCE-ACE22599A145}" dt="2023-09-17T17:15:27.818" v="2488" actId="1076"/>
          <ac:picMkLst>
            <pc:docMk/>
            <pc:sldMk cId="2628047589" sldId="1227"/>
            <ac:picMk id="8" creationId="{300D98EF-88E8-502D-8354-C762471279A0}"/>
          </ac:picMkLst>
        </pc:picChg>
        <pc:cxnChg chg="del mod">
          <ac:chgData name="Feri Carnu" userId="dca46e56149d37a2" providerId="LiveId" clId="{F4DFB71F-A99C-4416-BDCE-ACE22599A145}" dt="2023-09-17T17:04:35.264" v="2448" actId="478"/>
          <ac:cxnSpMkLst>
            <pc:docMk/>
            <pc:sldMk cId="2628047589" sldId="1227"/>
            <ac:cxnSpMk id="10" creationId="{B9ABBF1C-93D8-1D46-26FD-5F6288BE9A15}"/>
          </ac:cxnSpMkLst>
        </pc:cxnChg>
        <pc:cxnChg chg="del mod">
          <ac:chgData name="Feri Carnu" userId="dca46e56149d37a2" providerId="LiveId" clId="{F4DFB71F-A99C-4416-BDCE-ACE22599A145}" dt="2023-09-17T17:04:35.264" v="2448" actId="478"/>
          <ac:cxnSpMkLst>
            <pc:docMk/>
            <pc:sldMk cId="2628047589" sldId="1227"/>
            <ac:cxnSpMk id="11" creationId="{43B481DA-93BF-BD61-F972-4723DFC42E61}"/>
          </ac:cxnSpMkLst>
        </pc:cxnChg>
        <pc:cxnChg chg="del mod">
          <ac:chgData name="Feri Carnu" userId="dca46e56149d37a2" providerId="LiveId" clId="{F4DFB71F-A99C-4416-BDCE-ACE22599A145}" dt="2023-09-17T17:04:35.264" v="2448" actId="478"/>
          <ac:cxnSpMkLst>
            <pc:docMk/>
            <pc:sldMk cId="2628047589" sldId="1227"/>
            <ac:cxnSpMk id="15" creationId="{6A32DEAB-1980-6A00-BC44-34118299A24C}"/>
          </ac:cxnSpMkLst>
        </pc:cxnChg>
        <pc:cxnChg chg="del mod">
          <ac:chgData name="Feri Carnu" userId="dca46e56149d37a2" providerId="LiveId" clId="{F4DFB71F-A99C-4416-BDCE-ACE22599A145}" dt="2023-09-17T17:04:35.264" v="2448" actId="478"/>
          <ac:cxnSpMkLst>
            <pc:docMk/>
            <pc:sldMk cId="2628047589" sldId="1227"/>
            <ac:cxnSpMk id="18" creationId="{B2CCFDFB-26FE-D56F-A4AA-51F21802C71C}"/>
          </ac:cxnSpMkLst>
        </pc:cxnChg>
      </pc:sldChg>
      <pc:sldChg chg="addSp delSp modSp add mod ord">
        <pc:chgData name="Feri Carnu" userId="dca46e56149d37a2" providerId="LiveId" clId="{F4DFB71F-A99C-4416-BDCE-ACE22599A145}" dt="2023-09-18T09:49:29.935" v="2571" actId="207"/>
        <pc:sldMkLst>
          <pc:docMk/>
          <pc:sldMk cId="70313433" sldId="1228"/>
        </pc:sldMkLst>
        <pc:spChg chg="mod">
          <ac:chgData name="Feri Carnu" userId="dca46e56149d37a2" providerId="LiveId" clId="{F4DFB71F-A99C-4416-BDCE-ACE22599A145}" dt="2023-09-17T17:17:55.261" v="2493"/>
          <ac:spMkLst>
            <pc:docMk/>
            <pc:sldMk cId="70313433" sldId="1228"/>
            <ac:spMk id="3" creationId="{A71E4321-866F-142B-BD06-1B157D3EC631}"/>
          </ac:spMkLst>
        </pc:spChg>
        <pc:spChg chg="mod">
          <ac:chgData name="Feri Carnu" userId="dca46e56149d37a2" providerId="LiveId" clId="{F4DFB71F-A99C-4416-BDCE-ACE22599A145}" dt="2023-09-17T17:18:07.851" v="2518" actId="20577"/>
          <ac:spMkLst>
            <pc:docMk/>
            <pc:sldMk cId="70313433" sldId="1228"/>
            <ac:spMk id="6" creationId="{A12F442D-7CD2-F399-1EF0-2AF03A957FEF}"/>
          </ac:spMkLst>
        </pc:spChg>
        <pc:spChg chg="mod">
          <ac:chgData name="Feri Carnu" userId="dca46e56149d37a2" providerId="LiveId" clId="{F4DFB71F-A99C-4416-BDCE-ACE22599A145}" dt="2023-09-18T09:49:29.935" v="2571" actId="207"/>
          <ac:spMkLst>
            <pc:docMk/>
            <pc:sldMk cId="70313433" sldId="1228"/>
            <ac:spMk id="9" creationId="{6CFDB929-DAA8-0309-E1AC-922F0ADE5FA8}"/>
          </ac:spMkLst>
        </pc:spChg>
        <pc:spChg chg="mod">
          <ac:chgData name="Feri Carnu" userId="dca46e56149d37a2" providerId="LiveId" clId="{F4DFB71F-A99C-4416-BDCE-ACE22599A145}" dt="2023-09-17T17:17:55.261" v="2493"/>
          <ac:spMkLst>
            <pc:docMk/>
            <pc:sldMk cId="70313433" sldId="1228"/>
            <ac:spMk id="11" creationId="{E9254C17-5EE5-D428-C760-CEE7596CB996}"/>
          </ac:spMkLst>
        </pc:spChg>
        <pc:spChg chg="mod">
          <ac:chgData name="Feri Carnu" userId="dca46e56149d37a2" providerId="LiveId" clId="{F4DFB71F-A99C-4416-BDCE-ACE22599A145}" dt="2023-09-17T17:17:55.261" v="2493"/>
          <ac:spMkLst>
            <pc:docMk/>
            <pc:sldMk cId="70313433" sldId="1228"/>
            <ac:spMk id="12" creationId="{ECBD8AE3-BA0D-2AA5-BC31-FBC021003822}"/>
          </ac:spMkLst>
        </pc:spChg>
        <pc:spChg chg="mod">
          <ac:chgData name="Feri Carnu" userId="dca46e56149d37a2" providerId="LiveId" clId="{F4DFB71F-A99C-4416-BDCE-ACE22599A145}" dt="2023-09-17T17:17:55.261" v="2493"/>
          <ac:spMkLst>
            <pc:docMk/>
            <pc:sldMk cId="70313433" sldId="1228"/>
            <ac:spMk id="13" creationId="{DFC5464D-3709-6EFB-6D8D-E60F135E08BE}"/>
          </ac:spMkLst>
        </pc:spChg>
        <pc:spChg chg="mod">
          <ac:chgData name="Feri Carnu" userId="dca46e56149d37a2" providerId="LiveId" clId="{F4DFB71F-A99C-4416-BDCE-ACE22599A145}" dt="2023-09-17T17:17:55.261" v="2493"/>
          <ac:spMkLst>
            <pc:docMk/>
            <pc:sldMk cId="70313433" sldId="1228"/>
            <ac:spMk id="15" creationId="{4FD960B4-EF2D-5ABE-1B2C-8DF61AE611F5}"/>
          </ac:spMkLst>
        </pc:spChg>
        <pc:spChg chg="mod">
          <ac:chgData name="Feri Carnu" userId="dca46e56149d37a2" providerId="LiveId" clId="{F4DFB71F-A99C-4416-BDCE-ACE22599A145}" dt="2023-09-17T17:17:55.261" v="2493"/>
          <ac:spMkLst>
            <pc:docMk/>
            <pc:sldMk cId="70313433" sldId="1228"/>
            <ac:spMk id="16" creationId="{76D454A7-E9E3-67CB-9DDB-DF69361A8447}"/>
          </ac:spMkLst>
        </pc:spChg>
        <pc:spChg chg="add del mod">
          <ac:chgData name="Feri Carnu" userId="dca46e56149d37a2" providerId="LiveId" clId="{F4DFB71F-A99C-4416-BDCE-ACE22599A145}" dt="2023-09-17T17:21:31.318" v="2530" actId="478"/>
          <ac:spMkLst>
            <pc:docMk/>
            <pc:sldMk cId="70313433" sldId="1228"/>
            <ac:spMk id="18" creationId="{A5EDA0CA-1E59-375B-8B13-7EF4157E6BE2}"/>
          </ac:spMkLst>
        </pc:spChg>
        <pc:spChg chg="add del mod">
          <ac:chgData name="Feri Carnu" userId="dca46e56149d37a2" providerId="LiveId" clId="{F4DFB71F-A99C-4416-BDCE-ACE22599A145}" dt="2023-09-17T17:18:32.024" v="2521"/>
          <ac:spMkLst>
            <pc:docMk/>
            <pc:sldMk cId="70313433" sldId="1228"/>
            <ac:spMk id="19" creationId="{B2FF03B8-A6BD-896F-1EC1-13768C0AC58A}"/>
          </ac:spMkLst>
        </pc:spChg>
        <pc:spChg chg="mod">
          <ac:chgData name="Feri Carnu" userId="dca46e56149d37a2" providerId="LiveId" clId="{F4DFB71F-A99C-4416-BDCE-ACE22599A145}" dt="2023-09-17T17:18:43.541" v="2527" actId="14100"/>
          <ac:spMkLst>
            <pc:docMk/>
            <pc:sldMk cId="70313433" sldId="1228"/>
            <ac:spMk id="25" creationId="{2939CCB9-4735-EF5E-2482-779A7239AF8B}"/>
          </ac:spMkLst>
        </pc:spChg>
        <pc:grpChg chg="add mod">
          <ac:chgData name="Feri Carnu" userId="dca46e56149d37a2" providerId="LiveId" clId="{F4DFB71F-A99C-4416-BDCE-ACE22599A145}" dt="2023-09-17T17:17:55.261" v="2493"/>
          <ac:grpSpMkLst>
            <pc:docMk/>
            <pc:sldMk cId="70313433" sldId="1228"/>
            <ac:grpSpMk id="2" creationId="{4A4F5104-CE65-29C6-F5FA-D9C406444BA0}"/>
          </ac:grpSpMkLst>
        </pc:grpChg>
        <pc:picChg chg="del">
          <ac:chgData name="Feri Carnu" userId="dca46e56149d37a2" providerId="LiveId" clId="{F4DFB71F-A99C-4416-BDCE-ACE22599A145}" dt="2023-09-17T17:17:54.947" v="2492" actId="478"/>
          <ac:picMkLst>
            <pc:docMk/>
            <pc:sldMk cId="70313433" sldId="1228"/>
            <ac:picMk id="7" creationId="{CDBD0F95-AC9D-6408-FDD2-6E619C378033}"/>
          </ac:picMkLst>
        </pc:picChg>
        <pc:picChg chg="del">
          <ac:chgData name="Feri Carnu" userId="dca46e56149d37a2" providerId="LiveId" clId="{F4DFB71F-A99C-4416-BDCE-ACE22599A145}" dt="2023-09-17T17:17:54.947" v="2492" actId="478"/>
          <ac:picMkLst>
            <pc:docMk/>
            <pc:sldMk cId="70313433" sldId="1228"/>
            <ac:picMk id="8" creationId="{300D98EF-88E8-502D-8354-C762471279A0}"/>
          </ac:picMkLst>
        </pc:picChg>
        <pc:cxnChg chg="mod">
          <ac:chgData name="Feri Carnu" userId="dca46e56149d37a2" providerId="LiveId" clId="{F4DFB71F-A99C-4416-BDCE-ACE22599A145}" dt="2023-09-17T17:17:55.261" v="2493"/>
          <ac:cxnSpMkLst>
            <pc:docMk/>
            <pc:sldMk cId="70313433" sldId="1228"/>
            <ac:cxnSpMk id="5" creationId="{97BB19B7-8D6F-1E0A-95FA-333A5D150C6A}"/>
          </ac:cxnSpMkLst>
        </pc:cxnChg>
        <pc:cxnChg chg="mod">
          <ac:chgData name="Feri Carnu" userId="dca46e56149d37a2" providerId="LiveId" clId="{F4DFB71F-A99C-4416-BDCE-ACE22599A145}" dt="2023-09-17T17:17:55.261" v="2493"/>
          <ac:cxnSpMkLst>
            <pc:docMk/>
            <pc:sldMk cId="70313433" sldId="1228"/>
            <ac:cxnSpMk id="10" creationId="{A62660E7-BDFD-0A4F-9215-D3146EF3ABE0}"/>
          </ac:cxnSpMkLst>
        </pc:cxnChg>
        <pc:cxnChg chg="mod">
          <ac:chgData name="Feri Carnu" userId="dca46e56149d37a2" providerId="LiveId" clId="{F4DFB71F-A99C-4416-BDCE-ACE22599A145}" dt="2023-09-17T17:17:55.261" v="2493"/>
          <ac:cxnSpMkLst>
            <pc:docMk/>
            <pc:sldMk cId="70313433" sldId="1228"/>
            <ac:cxnSpMk id="14" creationId="{0243E575-0FA8-964C-FD7A-737143B671A7}"/>
          </ac:cxnSpMkLst>
        </pc:cxnChg>
        <pc:cxnChg chg="mod">
          <ac:chgData name="Feri Carnu" userId="dca46e56149d37a2" providerId="LiveId" clId="{F4DFB71F-A99C-4416-BDCE-ACE22599A145}" dt="2023-09-17T17:17:55.261" v="2493"/>
          <ac:cxnSpMkLst>
            <pc:docMk/>
            <pc:sldMk cId="70313433" sldId="1228"/>
            <ac:cxnSpMk id="17" creationId="{0891E475-9298-AE6E-4D0D-C11D30FD1E26}"/>
          </ac:cxnSpMkLst>
        </pc:cxnChg>
      </pc:sldChg>
      <pc:sldMasterChg chg="modSldLayout">
        <pc:chgData name="Feri Carnu" userId="dca46e56149d37a2" providerId="LiveId" clId="{F4DFB71F-A99C-4416-BDCE-ACE22599A145}" dt="2023-09-17T12:42:14.200" v="170"/>
        <pc:sldMasterMkLst>
          <pc:docMk/>
          <pc:sldMasterMk cId="3693060809" sldId="2147483799"/>
        </pc:sldMasterMkLst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883148764" sldId="2147483800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883148764" sldId="2147483800"/>
              <ac:picMk id="6" creationId="{28EE639F-EB0A-37F6-B0B4-244BC621B6FD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4153119684" sldId="2147483801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4153119684" sldId="2147483801"/>
              <ac:picMk id="6" creationId="{941E2EE5-04E7-335F-5A55-2D09B146801C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1856002197" sldId="2147483802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1856002197" sldId="2147483802"/>
              <ac:picMk id="6" creationId="{E289DD96-71B7-6A90-F85D-8215A63F7E14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4078352238" sldId="2147483803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4078352238" sldId="2147483803"/>
              <ac:picMk id="6" creationId="{892BD3E9-4DE6-9BF6-8398-D8F1A713C303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2310827004" sldId="2147483804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2310827004" sldId="2147483804"/>
              <ac:picMk id="6" creationId="{29E98D61-EC96-012F-0BE9-68ED51A40C04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1895101426" sldId="2147483805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1895101426" sldId="2147483805"/>
              <ac:picMk id="6" creationId="{2A9429FF-9C30-E684-FC93-20AFAF3BF108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1661466005" sldId="2147483806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1661466005" sldId="2147483806"/>
              <ac:picMk id="6" creationId="{8AD57377-C539-BCDF-11ED-5C03C7DA9C5D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2317461185" sldId="2147483807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2317461185" sldId="2147483807"/>
              <ac:picMk id="6" creationId="{318867D4-FF28-0256-8CD1-10E0FB655DE4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1607942570" sldId="2147483808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1607942570" sldId="2147483808"/>
              <ac:picMk id="6" creationId="{33D1E72A-AAAF-620F-498F-6590A99C9FDD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2585886770" sldId="2147483809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2585886770" sldId="2147483809"/>
              <ac:picMk id="6" creationId="{83CEC842-B136-A958-847B-0813AB9F7863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3223771096" sldId="2147483810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3223771096" sldId="2147483810"/>
              <ac:picMk id="6" creationId="{619E816A-E566-79C5-6DB0-917A3679055C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332286216" sldId="2147483811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332286216" sldId="2147483811"/>
              <ac:picMk id="6" creationId="{8073D51B-9A5D-D5B0-A9C8-127394EF8FDB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3080127940" sldId="2147483812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3080127940" sldId="2147483812"/>
              <ac:picMk id="7" creationId="{99572538-8795-CFB5-E7E1-D2E79472B3BA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1086470817" sldId="2147483813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1086470817" sldId="2147483813"/>
              <ac:picMk id="7" creationId="{97B2C471-DE09-4112-F160-69EA0A122907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3898104607" sldId="2147483814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3898104607" sldId="2147483814"/>
              <ac:picMk id="2" creationId="{EE5A9F5C-4B25-ECC0-86B1-819B3E15472E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1671002562" sldId="2147483815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1671002562" sldId="2147483815"/>
              <ac:picMk id="3" creationId="{2AD4CAC3-095B-D636-B66D-245F9B345B35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2473986419" sldId="2147483816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2473986419" sldId="2147483816"/>
              <ac:picMk id="3" creationId="{8CB5BA34-320B-B65E-FD12-94C0D0AE01D1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1505947245" sldId="2147483820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1505947245" sldId="2147483820"/>
              <ac:picMk id="3" creationId="{FA90450F-D455-A6D8-4E77-47258DEA4F67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1726932480" sldId="2147483821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1726932480" sldId="2147483821"/>
              <ac:picMk id="3" creationId="{6093DF13-FB10-FD5C-96E5-E7076DFF61BF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1682730583" sldId="2147483822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1682730583" sldId="2147483822"/>
              <ac:picMk id="3" creationId="{9DB07C59-47E3-094D-5D6E-DB93D8DA2718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2871137078" sldId="2147483825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2871137078" sldId="2147483825"/>
              <ac:picMk id="7" creationId="{D8726439-BF18-7229-83D9-140F29A97A89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920370791" sldId="2147483826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920370791" sldId="2147483826"/>
              <ac:picMk id="3" creationId="{174C64FE-5BFC-A85A-E139-08D6217B3126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2501514308" sldId="2147483827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2501514308" sldId="2147483827"/>
              <ac:picMk id="3" creationId="{D88DB529-AB4E-458C-1BDE-F600E481B73F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3193921649" sldId="2147483828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3193921649" sldId="2147483828"/>
              <ac:picMk id="2" creationId="{8A5ED44D-0E04-DB40-4B7D-7E2068BF9195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3929643231" sldId="2147483829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3929643231" sldId="2147483829"/>
              <ac:picMk id="2" creationId="{B2A85C66-41FC-4CE3-EFFB-C549DDD79291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2232494059" sldId="2147483830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2232494059" sldId="2147483830"/>
              <ac:picMk id="2" creationId="{632AB154-1B47-4E26-4155-8FF1496287BF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3270555715" sldId="2147483831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3270555715" sldId="2147483831"/>
              <ac:picMk id="2" creationId="{42CAEEEE-7B0C-CF47-C6FB-D1DCC1E0C9BC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1957885167" sldId="2147483832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1957885167" sldId="2147483832"/>
              <ac:picMk id="2" creationId="{31987958-EAA8-33A7-1132-2E23C5738CD4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1520684562" sldId="2147483833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1520684562" sldId="2147483833"/>
              <ac:picMk id="6" creationId="{DD738294-4009-E156-E3F9-287407041C58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42823957" sldId="2147483837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42823957" sldId="2147483837"/>
              <ac:picMk id="2" creationId="{2B45E454-9C2B-6C10-19CB-E3905D3025EE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466879171" sldId="2147483838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466879171" sldId="2147483838"/>
              <ac:picMk id="2" creationId="{D85BC653-7E03-C06F-7937-27854F2DB231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3245567758" sldId="2147483840"/>
          </pc:sldLayoutMkLst>
          <pc:spChg chg="add">
            <ac:chgData name="Feri Carnu" userId="dca46e56149d37a2" providerId="LiveId" clId="{F4DFB71F-A99C-4416-BDCE-ACE22599A145}" dt="2023-09-17T12:42:14.200" v="170"/>
            <ac:spMkLst>
              <pc:docMk/>
              <pc:sldMasterMk cId="3693060809" sldId="2147483799"/>
              <pc:sldLayoutMk cId="3245567758" sldId="2147483840"/>
              <ac:spMk id="5" creationId="{2FDDBE85-CF0E-3DF4-B00C-FFDA2D12C6CD}"/>
            </ac:spMkLst>
          </pc:spChg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3245567758" sldId="2147483840"/>
              <ac:picMk id="6" creationId="{836C4337-4046-A3B0-F73E-37B6C81638F6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2476702254" sldId="2147483841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2476702254" sldId="2147483841"/>
              <ac:picMk id="6" creationId="{99F5D56C-36CD-3C97-70AC-9F3BC1ABCB3F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1778591084" sldId="2147483842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1778591084" sldId="2147483842"/>
              <ac:picMk id="5" creationId="{FDA50306-31E3-9116-35ED-4CAC9F401656}"/>
            </ac:picMkLst>
          </pc:picChg>
        </pc:sldLayoutChg>
        <pc:sldLayoutChg chg="addSp">
          <pc:chgData name="Feri Carnu" userId="dca46e56149d37a2" providerId="LiveId" clId="{F4DFB71F-A99C-4416-BDCE-ACE22599A145}" dt="2023-09-17T12:42:14.200" v="170"/>
          <pc:sldLayoutMkLst>
            <pc:docMk/>
            <pc:sldMasterMk cId="3693060809" sldId="2147483799"/>
            <pc:sldLayoutMk cId="2436644291" sldId="2147483843"/>
          </pc:sldLayoutMkLst>
          <pc:picChg chg="add">
            <ac:chgData name="Feri Carnu" userId="dca46e56149d37a2" providerId="LiveId" clId="{F4DFB71F-A99C-4416-BDCE-ACE22599A145}" dt="2023-09-17T12:42:14.200" v="170"/>
            <ac:picMkLst>
              <pc:docMk/>
              <pc:sldMasterMk cId="3693060809" sldId="2147483799"/>
              <pc:sldLayoutMk cId="2436644291" sldId="2147483843"/>
              <ac:picMk id="5" creationId="{2C273A77-1CDD-D4AB-837E-61D61954B476}"/>
            </ac:picMkLst>
          </pc:picChg>
        </pc:sldLayoutChg>
      </pc:sldMasterChg>
    </pc:docChg>
  </pc:docChgLst>
  <pc:docChgLst>
    <pc:chgData name="George Patrasc" userId="1473b47d5cd04395" providerId="Windows Live" clId="Web-{E603006B-10F5-444E-8169-DD6D5C2F2949}"/>
    <pc:docChg chg="modSld">
      <pc:chgData name="George Patrasc" userId="1473b47d5cd04395" providerId="Windows Live" clId="Web-{E603006B-10F5-444E-8169-DD6D5C2F2949}" dt="2023-09-12T18:08:33.190" v="0" actId="1076"/>
      <pc:docMkLst>
        <pc:docMk/>
      </pc:docMkLst>
      <pc:sldChg chg="modSp">
        <pc:chgData name="George Patrasc" userId="1473b47d5cd04395" providerId="Windows Live" clId="Web-{E603006B-10F5-444E-8169-DD6D5C2F2949}" dt="2023-09-12T18:08:33.190" v="0" actId="1076"/>
        <pc:sldMkLst>
          <pc:docMk/>
          <pc:sldMk cId="3203684525" sldId="1221"/>
        </pc:sldMkLst>
        <pc:picChg chg="mod">
          <ac:chgData name="George Patrasc" userId="1473b47d5cd04395" providerId="Windows Live" clId="Web-{E603006B-10F5-444E-8169-DD6D5C2F2949}" dt="2023-09-12T18:08:33.190" v="0" actId="1076"/>
          <ac:picMkLst>
            <pc:docMk/>
            <pc:sldMk cId="3203684525" sldId="1221"/>
            <ac:picMk id="3" creationId="{ED91BA60-C792-4CD1-B37A-7ED5A13D1200}"/>
          </ac:picMkLst>
        </pc:picChg>
      </pc:sldChg>
    </pc:docChg>
  </pc:docChgLst>
  <pc:docChgLst>
    <pc:chgData name="George Patrasc" userId="1473b47d5cd04395" providerId="Windows Live" clId="Web-{E1601CCA-CFC0-4DAA-98B3-9F0399108906}"/>
    <pc:docChg chg="addSld modSld">
      <pc:chgData name="George Patrasc" userId="1473b47d5cd04395" providerId="Windows Live" clId="Web-{E1601CCA-CFC0-4DAA-98B3-9F0399108906}" dt="2023-09-12T15:11:15.668" v="53" actId="20577"/>
      <pc:docMkLst>
        <pc:docMk/>
      </pc:docMkLst>
      <pc:sldChg chg="modSp">
        <pc:chgData name="George Patrasc" userId="1473b47d5cd04395" providerId="Windows Live" clId="Web-{E1601CCA-CFC0-4DAA-98B3-9F0399108906}" dt="2023-09-12T15:08:34.680" v="41" actId="1076"/>
        <pc:sldMkLst>
          <pc:docMk/>
          <pc:sldMk cId="3203684525" sldId="1221"/>
        </pc:sldMkLst>
        <pc:spChg chg="mod">
          <ac:chgData name="George Patrasc" userId="1473b47d5cd04395" providerId="Windows Live" clId="Web-{E1601CCA-CFC0-4DAA-98B3-9F0399108906}" dt="2023-09-12T15:08:34.680" v="41" actId="1076"/>
          <ac:spMkLst>
            <pc:docMk/>
            <pc:sldMk cId="3203684525" sldId="1221"/>
            <ac:spMk id="7" creationId="{563117E3-EE52-E935-3C9D-2452D7487472}"/>
          </ac:spMkLst>
        </pc:spChg>
      </pc:sldChg>
      <pc:sldChg chg="addSp delSp modSp new">
        <pc:chgData name="George Patrasc" userId="1473b47d5cd04395" providerId="Windows Live" clId="Web-{E1601CCA-CFC0-4DAA-98B3-9F0399108906}" dt="2023-09-12T15:11:15.668" v="53" actId="20577"/>
        <pc:sldMkLst>
          <pc:docMk/>
          <pc:sldMk cId="3522227657" sldId="1222"/>
        </pc:sldMkLst>
        <pc:spChg chg="mod">
          <ac:chgData name="George Patrasc" userId="1473b47d5cd04395" providerId="Windows Live" clId="Web-{E1601CCA-CFC0-4DAA-98B3-9F0399108906}" dt="2023-09-12T15:08:59.680" v="49" actId="20577"/>
          <ac:spMkLst>
            <pc:docMk/>
            <pc:sldMk cId="3522227657" sldId="1222"/>
            <ac:spMk id="2" creationId="{79606C97-B53C-E13A-F2D7-9F7B1CE54DE2}"/>
          </ac:spMkLst>
        </pc:spChg>
        <pc:spChg chg="del">
          <ac:chgData name="George Patrasc" userId="1473b47d5cd04395" providerId="Windows Live" clId="Web-{E1601CCA-CFC0-4DAA-98B3-9F0399108906}" dt="2023-09-12T15:02:56.720" v="1"/>
          <ac:spMkLst>
            <pc:docMk/>
            <pc:sldMk cId="3522227657" sldId="1222"/>
            <ac:spMk id="3" creationId="{4564A730-8BB0-9C8D-CBCA-75A39C9FAEC7}"/>
          </ac:spMkLst>
        </pc:spChg>
        <pc:spChg chg="del">
          <ac:chgData name="George Patrasc" userId="1473b47d5cd04395" providerId="Windows Live" clId="Web-{E1601CCA-CFC0-4DAA-98B3-9F0399108906}" dt="2023-09-12T15:02:59.283" v="2"/>
          <ac:spMkLst>
            <pc:docMk/>
            <pc:sldMk cId="3522227657" sldId="1222"/>
            <ac:spMk id="4" creationId="{B2433613-618B-FB49-EFC6-030A2C6F2334}"/>
          </ac:spMkLst>
        </pc:spChg>
        <pc:spChg chg="del">
          <ac:chgData name="George Patrasc" userId="1473b47d5cd04395" providerId="Windows Live" clId="Web-{E1601CCA-CFC0-4DAA-98B3-9F0399108906}" dt="2023-09-12T15:04:49.347" v="16"/>
          <ac:spMkLst>
            <pc:docMk/>
            <pc:sldMk cId="3522227657" sldId="1222"/>
            <ac:spMk id="5" creationId="{8B462019-3AF9-6845-CA0E-2FE20BFE3EC4}"/>
          </ac:spMkLst>
        </pc:spChg>
        <pc:spChg chg="add mod">
          <ac:chgData name="George Patrasc" userId="1473b47d5cd04395" providerId="Windows Live" clId="Web-{E1601CCA-CFC0-4DAA-98B3-9F0399108906}" dt="2023-09-12T15:11:15.668" v="53" actId="20577"/>
          <ac:spMkLst>
            <pc:docMk/>
            <pc:sldMk cId="3522227657" sldId="1222"/>
            <ac:spMk id="7" creationId="{F92D9D8D-B840-9EEC-5774-AEC687C9A17B}"/>
          </ac:spMkLst>
        </pc:spChg>
        <pc:picChg chg="add mod ord">
          <ac:chgData name="George Patrasc" userId="1473b47d5cd04395" providerId="Windows Live" clId="Web-{E1601CCA-CFC0-4DAA-98B3-9F0399108906}" dt="2023-09-12T15:05:07.957" v="23" actId="14100"/>
          <ac:picMkLst>
            <pc:docMk/>
            <pc:sldMk cId="3522227657" sldId="1222"/>
            <ac:picMk id="8" creationId="{8A51178C-92D0-BC6F-52F3-81A848D41799}"/>
          </ac:picMkLst>
        </pc:picChg>
      </pc:sldChg>
    </pc:docChg>
  </pc:docChgLst>
  <pc:docChgLst>
    <pc:chgData name="Feri Carnu" userId="dca46e56149d37a2" providerId="LiveId" clId="{64F12FFF-093A-464E-8A18-9473212A9E49}"/>
    <pc:docChg chg="undo redo custSel addSld delSld modSld sldOrd modMainMaster addSection delSection modSection">
      <pc:chgData name="Feri Carnu" userId="dca46e56149d37a2" providerId="LiveId" clId="{64F12FFF-093A-464E-8A18-9473212A9E49}" dt="2023-06-07T19:19:55.642" v="3282" actId="14100"/>
      <pc:docMkLst>
        <pc:docMk/>
      </pc:docMkLst>
      <pc:sldChg chg="del">
        <pc:chgData name="Feri Carnu" userId="dca46e56149d37a2" providerId="LiveId" clId="{64F12FFF-093A-464E-8A18-9473212A9E49}" dt="2023-05-19T19:18:52.912" v="436" actId="47"/>
        <pc:sldMkLst>
          <pc:docMk/>
          <pc:sldMk cId="4291042792" sldId="266"/>
        </pc:sldMkLst>
      </pc:sldChg>
      <pc:sldChg chg="del">
        <pc:chgData name="Feri Carnu" userId="dca46e56149d37a2" providerId="LiveId" clId="{64F12FFF-093A-464E-8A18-9473212A9E49}" dt="2023-05-19T19:18:52.583" v="429" actId="47"/>
        <pc:sldMkLst>
          <pc:docMk/>
          <pc:sldMk cId="1500305047" sldId="267"/>
        </pc:sldMkLst>
      </pc:sldChg>
      <pc:sldChg chg="add del">
        <pc:chgData name="Feri Carnu" userId="dca46e56149d37a2" providerId="LiveId" clId="{64F12FFF-093A-464E-8A18-9473212A9E49}" dt="2023-05-19T19:19:12.015" v="469" actId="47"/>
        <pc:sldMkLst>
          <pc:docMk/>
          <pc:sldMk cId="3044083358" sldId="268"/>
        </pc:sldMkLst>
      </pc:sldChg>
      <pc:sldChg chg="del">
        <pc:chgData name="Feri Carnu" userId="dca46e56149d37a2" providerId="LiveId" clId="{64F12FFF-093A-464E-8A18-9473212A9E49}" dt="2023-05-19T19:18:52.740" v="433" actId="47"/>
        <pc:sldMkLst>
          <pc:docMk/>
          <pc:sldMk cId="2588031814" sldId="282"/>
        </pc:sldMkLst>
      </pc:sldChg>
      <pc:sldChg chg="del">
        <pc:chgData name="Feri Carnu" userId="dca46e56149d37a2" providerId="LiveId" clId="{64F12FFF-093A-464E-8A18-9473212A9E49}" dt="2023-05-19T19:18:52.787" v="434" actId="47"/>
        <pc:sldMkLst>
          <pc:docMk/>
          <pc:sldMk cId="2787577464" sldId="290"/>
        </pc:sldMkLst>
      </pc:sldChg>
      <pc:sldChg chg="addSp delSp modSp add del mod ord modTransition">
        <pc:chgData name="Feri Carnu" userId="dca46e56149d37a2" providerId="LiveId" clId="{64F12FFF-093A-464E-8A18-9473212A9E49}" dt="2023-06-07T12:54:05.844" v="3245"/>
        <pc:sldMkLst>
          <pc:docMk/>
          <pc:sldMk cId="357168791" sldId="300"/>
        </pc:sldMkLst>
        <pc:spChg chg="add del mod">
          <ac:chgData name="Feri Carnu" userId="dca46e56149d37a2" providerId="LiveId" clId="{64F12FFF-093A-464E-8A18-9473212A9E49}" dt="2023-05-21T19:57:20.340" v="1044" actId="478"/>
          <ac:spMkLst>
            <pc:docMk/>
            <pc:sldMk cId="357168791" sldId="300"/>
            <ac:spMk id="2" creationId="{C2AE7440-379B-C3D8-68BF-518208940996}"/>
          </ac:spMkLst>
        </pc:spChg>
        <pc:spChg chg="del mod">
          <ac:chgData name="Feri Carnu" userId="dca46e56149d37a2" providerId="LiveId" clId="{64F12FFF-093A-464E-8A18-9473212A9E49}" dt="2023-05-19T21:15:55.489" v="847"/>
          <ac:spMkLst>
            <pc:docMk/>
            <pc:sldMk cId="357168791" sldId="300"/>
            <ac:spMk id="2" creationId="{ED2A6538-2665-470B-AC19-FB1A61DF6AFA}"/>
          </ac:spMkLst>
        </pc:spChg>
        <pc:spChg chg="add del mod">
          <ac:chgData name="Feri Carnu" userId="dca46e56149d37a2" providerId="LiveId" clId="{64F12FFF-093A-464E-8A18-9473212A9E49}" dt="2023-05-19T16:23:39.055" v="6" actId="478"/>
          <ac:spMkLst>
            <pc:docMk/>
            <pc:sldMk cId="357168791" sldId="300"/>
            <ac:spMk id="5" creationId="{0292DC1F-E3CF-E4EE-E9DC-DA73A9B42000}"/>
          </ac:spMkLst>
        </pc:spChg>
        <pc:spChg chg="del">
          <ac:chgData name="Feri Carnu" userId="dca46e56149d37a2" providerId="LiveId" clId="{64F12FFF-093A-464E-8A18-9473212A9E49}" dt="2023-05-19T16:23:14.936" v="0" actId="478"/>
          <ac:spMkLst>
            <pc:docMk/>
            <pc:sldMk cId="357168791" sldId="300"/>
            <ac:spMk id="6" creationId="{1C480184-B2EC-43ED-A10E-782E68EE1194}"/>
          </ac:spMkLst>
        </pc:spChg>
        <pc:spChg chg="add del mod">
          <ac:chgData name="Feri Carnu" userId="dca46e56149d37a2" providerId="LiveId" clId="{64F12FFF-093A-464E-8A18-9473212A9E49}" dt="2023-05-19T21:26:05.845" v="922" actId="478"/>
          <ac:spMkLst>
            <pc:docMk/>
            <pc:sldMk cId="357168791" sldId="300"/>
            <ac:spMk id="6" creationId="{8FC2D37D-A98E-03F9-E411-4122225D115A}"/>
          </ac:spMkLst>
        </pc:spChg>
        <pc:spChg chg="add mod">
          <ac:chgData name="Feri Carnu" userId="dca46e56149d37a2" providerId="LiveId" clId="{64F12FFF-093A-464E-8A18-9473212A9E49}" dt="2023-05-21T19:57:20.340" v="1044" actId="478"/>
          <ac:spMkLst>
            <pc:docMk/>
            <pc:sldMk cId="357168791" sldId="300"/>
            <ac:spMk id="6" creationId="{A12F442D-7CD2-F399-1EF0-2AF03A957FEF}"/>
          </ac:spMkLst>
        </pc:spChg>
        <pc:spChg chg="add del mod">
          <ac:chgData name="Feri Carnu" userId="dca46e56149d37a2" providerId="LiveId" clId="{64F12FFF-093A-464E-8A18-9473212A9E49}" dt="2023-05-19T16:40:20.861" v="188" actId="478"/>
          <ac:spMkLst>
            <pc:docMk/>
            <pc:sldMk cId="357168791" sldId="300"/>
            <ac:spMk id="7" creationId="{5D5C8547-4A38-4BBE-8146-2BE4EE409A91}"/>
          </ac:spMkLst>
        </pc:spChg>
        <pc:spChg chg="add del mod ord">
          <ac:chgData name="Feri Carnu" userId="dca46e56149d37a2" providerId="LiveId" clId="{64F12FFF-093A-464E-8A18-9473212A9E49}" dt="2023-05-19T16:46:56.833" v="217" actId="34135"/>
          <ac:spMkLst>
            <pc:docMk/>
            <pc:sldMk cId="357168791" sldId="300"/>
            <ac:spMk id="8" creationId="{A16807FD-054B-FD46-0132-B44D7CA7A918}"/>
          </ac:spMkLst>
        </pc:spChg>
        <pc:spChg chg="del mod">
          <ac:chgData name="Feri Carnu" userId="dca46e56149d37a2" providerId="LiveId" clId="{64F12FFF-093A-464E-8A18-9473212A9E49}" dt="2023-05-19T19:12:40.494" v="266" actId="478"/>
          <ac:spMkLst>
            <pc:docMk/>
            <pc:sldMk cId="357168791" sldId="300"/>
            <ac:spMk id="9" creationId="{1F2003EC-EE5B-B473-9781-8B2BB316545A}"/>
          </ac:spMkLst>
        </pc:spChg>
        <pc:spChg chg="add del mod">
          <ac:chgData name="Feri Carnu" userId="dca46e56149d37a2" providerId="LiveId" clId="{64F12FFF-093A-464E-8A18-9473212A9E49}" dt="2023-05-19T16:24:16.292" v="15" actId="478"/>
          <ac:spMkLst>
            <pc:docMk/>
            <pc:sldMk cId="357168791" sldId="300"/>
            <ac:spMk id="11" creationId="{62921391-5EA5-2756-EDAB-D8E6EEA6A376}"/>
          </ac:spMkLst>
        </pc:spChg>
        <pc:spChg chg="add del mod">
          <ac:chgData name="Feri Carnu" userId="dca46e56149d37a2" providerId="LiveId" clId="{64F12FFF-093A-464E-8A18-9473212A9E49}" dt="2023-05-19T16:40:25.147" v="189" actId="478"/>
          <ac:spMkLst>
            <pc:docMk/>
            <pc:sldMk cId="357168791" sldId="300"/>
            <ac:spMk id="21" creationId="{AF1BE8E0-7AD8-A432-489B-C51B5396ECEB}"/>
          </ac:spMkLst>
        </pc:spChg>
        <pc:spChg chg="add mod ord">
          <ac:chgData name="Feri Carnu" userId="dca46e56149d37a2" providerId="LiveId" clId="{64F12FFF-093A-464E-8A18-9473212A9E49}" dt="2023-05-19T21:17:19.160" v="860" actId="20577"/>
          <ac:spMkLst>
            <pc:docMk/>
            <pc:sldMk cId="357168791" sldId="300"/>
            <ac:spMk id="23" creationId="{5F3440FB-00D4-D93E-10A6-EEAA928B63C5}"/>
          </ac:spMkLst>
        </pc:spChg>
        <pc:spChg chg="add del mod">
          <ac:chgData name="Feri Carnu" userId="dca46e56149d37a2" providerId="LiveId" clId="{64F12FFF-093A-464E-8A18-9473212A9E49}" dt="2023-05-19T19:12:28.482" v="251" actId="478"/>
          <ac:spMkLst>
            <pc:docMk/>
            <pc:sldMk cId="357168791" sldId="300"/>
            <ac:spMk id="24" creationId="{77401A5F-6CF8-8B03-DBCF-1ABA99B830DB}"/>
          </ac:spMkLst>
        </pc:spChg>
        <pc:spChg chg="add del mod">
          <ac:chgData name="Feri Carnu" userId="dca46e56149d37a2" providerId="LiveId" clId="{64F12FFF-093A-464E-8A18-9473212A9E49}" dt="2023-05-19T21:37:29.371" v="966" actId="478"/>
          <ac:spMkLst>
            <pc:docMk/>
            <pc:sldMk cId="357168791" sldId="300"/>
            <ac:spMk id="26" creationId="{531F2F60-4430-0F37-B57E-B2CEA66341E8}"/>
          </ac:spMkLst>
        </pc:spChg>
        <pc:spChg chg="add mod">
          <ac:chgData name="Feri Carnu" userId="dca46e56149d37a2" providerId="LiveId" clId="{64F12FFF-093A-464E-8A18-9473212A9E49}" dt="2023-05-19T19:17:28.570" v="360" actId="164"/>
          <ac:spMkLst>
            <pc:docMk/>
            <pc:sldMk cId="357168791" sldId="300"/>
            <ac:spMk id="28" creationId="{368DD77C-72CB-0764-A9E5-EE615F251862}"/>
          </ac:spMkLst>
        </pc:spChg>
        <pc:spChg chg="add mod">
          <ac:chgData name="Feri Carnu" userId="dca46e56149d37a2" providerId="LiveId" clId="{64F12FFF-093A-464E-8A18-9473212A9E49}" dt="2023-05-19T19:17:30.092" v="361" actId="164"/>
          <ac:spMkLst>
            <pc:docMk/>
            <pc:sldMk cId="357168791" sldId="300"/>
            <ac:spMk id="29" creationId="{5DBADB3B-681F-7A81-F8FE-6CBEECA46B5A}"/>
          </ac:spMkLst>
        </pc:spChg>
        <pc:spChg chg="add mod">
          <ac:chgData name="Feri Carnu" userId="dca46e56149d37a2" providerId="LiveId" clId="{64F12FFF-093A-464E-8A18-9473212A9E49}" dt="2023-05-19T19:17:31.524" v="362" actId="164"/>
          <ac:spMkLst>
            <pc:docMk/>
            <pc:sldMk cId="357168791" sldId="300"/>
            <ac:spMk id="30" creationId="{767F3485-9C3E-AA18-492C-E5A4E21A5D87}"/>
          </ac:spMkLst>
        </pc:spChg>
        <pc:spChg chg="add del mod">
          <ac:chgData name="Feri Carnu" userId="dca46e56149d37a2" providerId="LiveId" clId="{64F12FFF-093A-464E-8A18-9473212A9E49}" dt="2023-05-19T19:17:34.961" v="364" actId="164"/>
          <ac:spMkLst>
            <pc:docMk/>
            <pc:sldMk cId="357168791" sldId="300"/>
            <ac:spMk id="31" creationId="{D83548B8-48DF-BE6B-BBC9-F2E47BA85F33}"/>
          </ac:spMkLst>
        </pc:spChg>
        <pc:spChg chg="add mod">
          <ac:chgData name="Feri Carnu" userId="dca46e56149d37a2" providerId="LiveId" clId="{64F12FFF-093A-464E-8A18-9473212A9E49}" dt="2023-05-19T19:17:32.782" v="363" actId="164"/>
          <ac:spMkLst>
            <pc:docMk/>
            <pc:sldMk cId="357168791" sldId="300"/>
            <ac:spMk id="32" creationId="{08AE40F8-AF2F-7265-ED2A-525B672F6E2A}"/>
          </ac:spMkLst>
        </pc:spChg>
        <pc:grpChg chg="add mod">
          <ac:chgData name="Feri Carnu" userId="dca46e56149d37a2" providerId="LiveId" clId="{64F12FFF-093A-464E-8A18-9473212A9E49}" dt="2023-05-19T19:17:28.570" v="360" actId="164"/>
          <ac:grpSpMkLst>
            <pc:docMk/>
            <pc:sldMk cId="357168791" sldId="300"/>
            <ac:grpSpMk id="33" creationId="{8E73F95C-A2B3-4AD1-7E08-24D3BFD3D2F4}"/>
          </ac:grpSpMkLst>
        </pc:grpChg>
        <pc:grpChg chg="add mod">
          <ac:chgData name="Feri Carnu" userId="dca46e56149d37a2" providerId="LiveId" clId="{64F12FFF-093A-464E-8A18-9473212A9E49}" dt="2023-05-19T19:17:30.092" v="361" actId="164"/>
          <ac:grpSpMkLst>
            <pc:docMk/>
            <pc:sldMk cId="357168791" sldId="300"/>
            <ac:grpSpMk id="34" creationId="{1CB939FF-CD91-7BE6-4BE2-519488C6D31A}"/>
          </ac:grpSpMkLst>
        </pc:grpChg>
        <pc:grpChg chg="add mod">
          <ac:chgData name="Feri Carnu" userId="dca46e56149d37a2" providerId="LiveId" clId="{64F12FFF-093A-464E-8A18-9473212A9E49}" dt="2023-05-19T19:17:31.524" v="362" actId="164"/>
          <ac:grpSpMkLst>
            <pc:docMk/>
            <pc:sldMk cId="357168791" sldId="300"/>
            <ac:grpSpMk id="35" creationId="{579A7F28-D091-CC84-A574-43E9C064A926}"/>
          </ac:grpSpMkLst>
        </pc:grpChg>
        <pc:grpChg chg="add mod">
          <ac:chgData name="Feri Carnu" userId="dca46e56149d37a2" providerId="LiveId" clId="{64F12FFF-093A-464E-8A18-9473212A9E49}" dt="2023-05-19T19:17:32.782" v="363" actId="164"/>
          <ac:grpSpMkLst>
            <pc:docMk/>
            <pc:sldMk cId="357168791" sldId="300"/>
            <ac:grpSpMk id="36" creationId="{8DFEDA30-BED3-6438-6607-B24E97114E4C}"/>
          </ac:grpSpMkLst>
        </pc:grpChg>
        <pc:grpChg chg="add mod">
          <ac:chgData name="Feri Carnu" userId="dca46e56149d37a2" providerId="LiveId" clId="{64F12FFF-093A-464E-8A18-9473212A9E49}" dt="2023-05-19T19:17:34.961" v="364" actId="164"/>
          <ac:grpSpMkLst>
            <pc:docMk/>
            <pc:sldMk cId="357168791" sldId="300"/>
            <ac:grpSpMk id="37" creationId="{4F19E3EE-4411-9F6C-C387-860295E3A165}"/>
          </ac:grpSpMkLst>
        </pc:grpChg>
        <pc:picChg chg="add mod modCrop">
          <ac:chgData name="Feri Carnu" userId="dca46e56149d37a2" providerId="LiveId" clId="{64F12FFF-093A-464E-8A18-9473212A9E49}" dt="2023-05-19T21:37:06.455" v="965" actId="18131"/>
          <ac:picMkLst>
            <pc:docMk/>
            <pc:sldMk cId="357168791" sldId="300"/>
            <ac:picMk id="5" creationId="{210B7B7D-17FE-7597-C36C-425540622A20}"/>
          </ac:picMkLst>
        </pc:picChg>
        <pc:picChg chg="add del mod modCrop">
          <ac:chgData name="Feri Carnu" userId="dca46e56149d37a2" providerId="LiveId" clId="{64F12FFF-093A-464E-8A18-9473212A9E49}" dt="2023-05-19T19:17:28.570" v="360" actId="164"/>
          <ac:picMkLst>
            <pc:docMk/>
            <pc:sldMk cId="357168791" sldId="300"/>
            <ac:picMk id="13" creationId="{F1786A56-7B08-A3C3-6640-C96E2FBA8DE5}"/>
          </ac:picMkLst>
        </pc:picChg>
        <pc:picChg chg="add del mod">
          <ac:chgData name="Feri Carnu" userId="dca46e56149d37a2" providerId="LiveId" clId="{64F12FFF-093A-464E-8A18-9473212A9E49}" dt="2023-05-19T19:17:30.092" v="361" actId="164"/>
          <ac:picMkLst>
            <pc:docMk/>
            <pc:sldMk cId="357168791" sldId="300"/>
            <ac:picMk id="15" creationId="{D03F03B6-7FC3-74F8-BFB1-3546840136F6}"/>
          </ac:picMkLst>
        </pc:picChg>
        <pc:picChg chg="add del mod modCrop">
          <ac:chgData name="Feri Carnu" userId="dca46e56149d37a2" providerId="LiveId" clId="{64F12FFF-093A-464E-8A18-9473212A9E49}" dt="2023-05-19T16:36:54.277" v="158" actId="478"/>
          <ac:picMkLst>
            <pc:docMk/>
            <pc:sldMk cId="357168791" sldId="300"/>
            <ac:picMk id="17" creationId="{DD336F24-3E2F-9BAE-CEA1-A7F7D878E1DD}"/>
          </ac:picMkLst>
        </pc:picChg>
        <pc:picChg chg="add del mod">
          <ac:chgData name="Feri Carnu" userId="dca46e56149d37a2" providerId="LiveId" clId="{64F12FFF-093A-464E-8A18-9473212A9E49}" dt="2023-05-19T19:17:31.524" v="362" actId="164"/>
          <ac:picMkLst>
            <pc:docMk/>
            <pc:sldMk cId="357168791" sldId="300"/>
            <ac:picMk id="19" creationId="{54A708C6-D111-2121-F6C2-9414F9D54642}"/>
          </ac:picMkLst>
        </pc:picChg>
        <pc:picChg chg="add del mod">
          <ac:chgData name="Feri Carnu" userId="dca46e56149d37a2" providerId="LiveId" clId="{64F12FFF-093A-464E-8A18-9473212A9E49}" dt="2023-05-19T16:27:57.410" v="33" actId="478"/>
          <ac:picMkLst>
            <pc:docMk/>
            <pc:sldMk cId="357168791" sldId="300"/>
            <ac:picMk id="1026" creationId="{05BDB1AB-1DC0-660B-622B-577A82A42BB0}"/>
          </ac:picMkLst>
        </pc:picChg>
        <pc:picChg chg="add del">
          <ac:chgData name="Feri Carnu" userId="dca46e56149d37a2" providerId="LiveId" clId="{64F12FFF-093A-464E-8A18-9473212A9E49}" dt="2023-05-19T16:28:12.731" v="35"/>
          <ac:picMkLst>
            <pc:docMk/>
            <pc:sldMk cId="357168791" sldId="300"/>
            <ac:picMk id="1028" creationId="{0BE607AA-DA98-B537-B162-5F9675482349}"/>
          </ac:picMkLst>
        </pc:picChg>
        <pc:picChg chg="add del mod">
          <ac:chgData name="Feri Carnu" userId="dca46e56149d37a2" providerId="LiveId" clId="{64F12FFF-093A-464E-8A18-9473212A9E49}" dt="2023-05-19T16:33:06.708" v="109" actId="478"/>
          <ac:picMkLst>
            <pc:docMk/>
            <pc:sldMk cId="357168791" sldId="300"/>
            <ac:picMk id="1030" creationId="{5A1116A2-8892-BAB0-FE07-E95FE24CAD46}"/>
          </ac:picMkLst>
        </pc:picChg>
        <pc:picChg chg="add del mod">
          <ac:chgData name="Feri Carnu" userId="dca46e56149d37a2" providerId="LiveId" clId="{64F12FFF-093A-464E-8A18-9473212A9E49}" dt="2023-05-19T19:17:34.961" v="364" actId="164"/>
          <ac:picMkLst>
            <pc:docMk/>
            <pc:sldMk cId="357168791" sldId="300"/>
            <ac:picMk id="1032" creationId="{9A1101C2-3461-CC43-C676-E9BDDB8F982D}"/>
          </ac:picMkLst>
        </pc:picChg>
        <pc:picChg chg="add del mod">
          <ac:chgData name="Feri Carnu" userId="dca46e56149d37a2" providerId="LiveId" clId="{64F12FFF-093A-464E-8A18-9473212A9E49}" dt="2023-05-19T19:17:32.782" v="363" actId="164"/>
          <ac:picMkLst>
            <pc:docMk/>
            <pc:sldMk cId="357168791" sldId="300"/>
            <ac:picMk id="1034" creationId="{5ED23228-A514-315B-F886-4FCEDE18290F}"/>
          </ac:picMkLst>
        </pc:picChg>
      </pc:sldChg>
      <pc:sldChg chg="del">
        <pc:chgData name="Feri Carnu" userId="dca46e56149d37a2" providerId="LiveId" clId="{64F12FFF-093A-464E-8A18-9473212A9E49}" dt="2023-05-19T19:18:52.708" v="432" actId="47"/>
        <pc:sldMkLst>
          <pc:docMk/>
          <pc:sldMk cId="3336576433" sldId="305"/>
        </pc:sldMkLst>
      </pc:sldChg>
      <pc:sldChg chg="del">
        <pc:chgData name="Feri Carnu" userId="dca46e56149d37a2" providerId="LiveId" clId="{64F12FFF-093A-464E-8A18-9473212A9E49}" dt="2023-05-19T19:18:50.786" v="423" actId="47"/>
        <pc:sldMkLst>
          <pc:docMk/>
          <pc:sldMk cId="869499180" sldId="313"/>
        </pc:sldMkLst>
      </pc:sldChg>
      <pc:sldChg chg="del">
        <pc:chgData name="Feri Carnu" userId="dca46e56149d37a2" providerId="LiveId" clId="{64F12FFF-093A-464E-8A18-9473212A9E49}" dt="2023-05-19T19:18:52.488" v="428" actId="47"/>
        <pc:sldMkLst>
          <pc:docMk/>
          <pc:sldMk cId="1470302521" sldId="315"/>
        </pc:sldMkLst>
      </pc:sldChg>
      <pc:sldChg chg="del">
        <pc:chgData name="Feri Carnu" userId="dca46e56149d37a2" providerId="LiveId" clId="{64F12FFF-093A-464E-8A18-9473212A9E49}" dt="2023-05-19T19:18:50.597" v="417" actId="47"/>
        <pc:sldMkLst>
          <pc:docMk/>
          <pc:sldMk cId="2969443571" sldId="317"/>
        </pc:sldMkLst>
      </pc:sldChg>
      <pc:sldChg chg="del">
        <pc:chgData name="Feri Carnu" userId="dca46e56149d37a2" providerId="LiveId" clId="{64F12FFF-093A-464E-8A18-9473212A9E49}" dt="2023-05-19T19:18:51.939" v="427" actId="47"/>
        <pc:sldMkLst>
          <pc:docMk/>
          <pc:sldMk cId="1748855520" sldId="327"/>
        </pc:sldMkLst>
      </pc:sldChg>
      <pc:sldChg chg="del">
        <pc:chgData name="Feri Carnu" userId="dca46e56149d37a2" providerId="LiveId" clId="{64F12FFF-093A-464E-8A18-9473212A9E49}" dt="2023-05-19T19:18:51.194" v="425" actId="47"/>
        <pc:sldMkLst>
          <pc:docMk/>
          <pc:sldMk cId="1824944934" sldId="331"/>
        </pc:sldMkLst>
      </pc:sldChg>
      <pc:sldChg chg="addSp delSp modSp add del mod modTransition setBg modAnim">
        <pc:chgData name="Feri Carnu" userId="dca46e56149d37a2" providerId="LiveId" clId="{64F12FFF-093A-464E-8A18-9473212A9E49}" dt="2023-05-21T21:54:14.784" v="2401" actId="47"/>
        <pc:sldMkLst>
          <pc:docMk/>
          <pc:sldMk cId="2496441358" sldId="332"/>
        </pc:sldMkLst>
        <pc:spChg chg="mod">
          <ac:chgData name="Feri Carnu" userId="dca46e56149d37a2" providerId="LiveId" clId="{64F12FFF-093A-464E-8A18-9473212A9E49}" dt="2023-05-19T21:39:42.668" v="970" actId="207"/>
          <ac:spMkLst>
            <pc:docMk/>
            <pc:sldMk cId="2496441358" sldId="332"/>
            <ac:spMk id="2" creationId="{6D50B2FF-A78D-4BE8-90AF-0955B2C183F5}"/>
          </ac:spMkLst>
        </pc:spChg>
        <pc:spChg chg="del mod">
          <ac:chgData name="Feri Carnu" userId="dca46e56149d37a2" providerId="LiveId" clId="{64F12FFF-093A-464E-8A18-9473212A9E49}" dt="2023-05-19T22:27:51.886" v="1004" actId="478"/>
          <ac:spMkLst>
            <pc:docMk/>
            <pc:sldMk cId="2496441358" sldId="332"/>
            <ac:spMk id="3" creationId="{FCC9C521-9C98-425D-8A44-C88867903CC8}"/>
          </ac:spMkLst>
        </pc:spChg>
        <pc:spChg chg="add del mod">
          <ac:chgData name="Feri Carnu" userId="dca46e56149d37a2" providerId="LiveId" clId="{64F12FFF-093A-464E-8A18-9473212A9E49}" dt="2023-05-19T21:40:04.552" v="975" actId="478"/>
          <ac:spMkLst>
            <pc:docMk/>
            <pc:sldMk cId="2496441358" sldId="332"/>
            <ac:spMk id="5" creationId="{340050B2-06F3-7483-24B2-E6885ABD94A0}"/>
          </ac:spMkLst>
        </pc:spChg>
        <pc:spChg chg="del">
          <ac:chgData name="Feri Carnu" userId="dca46e56149d37a2" providerId="LiveId" clId="{64F12FFF-093A-464E-8A18-9473212A9E49}" dt="2023-05-19T21:39:53.446" v="971" actId="478"/>
          <ac:spMkLst>
            <pc:docMk/>
            <pc:sldMk cId="2496441358" sldId="332"/>
            <ac:spMk id="8" creationId="{398F5539-E6C6-4266-AE14-C6330303383F}"/>
          </ac:spMkLst>
        </pc:spChg>
        <pc:spChg chg="add del mod">
          <ac:chgData name="Feri Carnu" userId="dca46e56149d37a2" providerId="LiveId" clId="{64F12FFF-093A-464E-8A18-9473212A9E49}" dt="2023-05-19T21:40:01.498" v="974" actId="478"/>
          <ac:spMkLst>
            <pc:docMk/>
            <pc:sldMk cId="2496441358" sldId="332"/>
            <ac:spMk id="9" creationId="{C3318040-AC86-0436-F005-B74D55DB7B29}"/>
          </ac:spMkLst>
        </pc:spChg>
        <pc:spChg chg="add del mod">
          <ac:chgData name="Feri Carnu" userId="dca46e56149d37a2" providerId="LiveId" clId="{64F12FFF-093A-464E-8A18-9473212A9E49}" dt="2023-05-19T21:50:11.856" v="998" actId="478"/>
          <ac:spMkLst>
            <pc:docMk/>
            <pc:sldMk cId="2496441358" sldId="332"/>
            <ac:spMk id="13" creationId="{C1B8CB90-A41F-E547-7C39-926DE823CA5B}"/>
          </ac:spMkLst>
        </pc:spChg>
        <pc:spChg chg="del">
          <ac:chgData name="Feri Carnu" userId="dca46e56149d37a2" providerId="LiveId" clId="{64F12FFF-093A-464E-8A18-9473212A9E49}" dt="2023-05-19T21:39:57.417" v="972" actId="478"/>
          <ac:spMkLst>
            <pc:docMk/>
            <pc:sldMk cId="2496441358" sldId="332"/>
            <ac:spMk id="15" creationId="{5DE23D71-51B5-4937-95E6-2843264F8166}"/>
          </ac:spMkLst>
        </pc:spChg>
        <pc:spChg chg="add del mod">
          <ac:chgData name="Feri Carnu" userId="dca46e56149d37a2" providerId="LiveId" clId="{64F12FFF-093A-464E-8A18-9473212A9E49}" dt="2023-05-19T22:27:58.386" v="1006" actId="478"/>
          <ac:spMkLst>
            <pc:docMk/>
            <pc:sldMk cId="2496441358" sldId="332"/>
            <ac:spMk id="16" creationId="{CBD1848B-A5E7-87E7-0BAE-FBE13F0099EA}"/>
          </ac:spMkLst>
        </pc:spChg>
        <pc:spChg chg="add del mod">
          <ac:chgData name="Feri Carnu" userId="dca46e56149d37a2" providerId="LiveId" clId="{64F12FFF-093A-464E-8A18-9473212A9E49}" dt="2023-05-19T22:27:56.192" v="1005" actId="478"/>
          <ac:spMkLst>
            <pc:docMk/>
            <pc:sldMk cId="2496441358" sldId="332"/>
            <ac:spMk id="18" creationId="{AA8B9126-241E-1DBA-4B30-56B3891C11B1}"/>
          </ac:spMkLst>
        </pc:spChg>
        <pc:picChg chg="add del mod modCrop">
          <ac:chgData name="Feri Carnu" userId="dca46e56149d37a2" providerId="LiveId" clId="{64F12FFF-093A-464E-8A18-9473212A9E49}" dt="2023-05-19T22:27:47.485" v="1003" actId="478"/>
          <ac:picMkLst>
            <pc:docMk/>
            <pc:sldMk cId="2496441358" sldId="332"/>
            <ac:picMk id="6" creationId="{72C808FC-C776-4654-93F3-67A8893B1B12}"/>
          </ac:picMkLst>
        </pc:picChg>
        <pc:picChg chg="add del mod">
          <ac:chgData name="Feri Carnu" userId="dca46e56149d37a2" providerId="LiveId" clId="{64F12FFF-093A-464E-8A18-9473212A9E49}" dt="2023-05-19T21:50:12.277" v="1000" actId="22"/>
          <ac:picMkLst>
            <pc:docMk/>
            <pc:sldMk cId="2496441358" sldId="332"/>
            <ac:picMk id="11" creationId="{0FF708DD-C58C-CEC4-F2B7-1EBFCF410C56}"/>
          </ac:picMkLst>
        </pc:picChg>
        <pc:picChg chg="add mod">
          <ac:chgData name="Feri Carnu" userId="dca46e56149d37a2" providerId="LiveId" clId="{64F12FFF-093A-464E-8A18-9473212A9E49}" dt="2023-05-19T22:28:26.004" v="1013" actId="1076"/>
          <ac:picMkLst>
            <pc:docMk/>
            <pc:sldMk cId="2496441358" sldId="332"/>
            <ac:picMk id="19" creationId="{62F2FA76-E0FD-E587-FC48-924AB7F21762}"/>
          </ac:picMkLst>
        </pc:picChg>
      </pc:sldChg>
      <pc:sldChg chg="del">
        <pc:chgData name="Feri Carnu" userId="dca46e56149d37a2" providerId="LiveId" clId="{64F12FFF-093A-464E-8A18-9473212A9E49}" dt="2023-05-19T19:18:52.855" v="435" actId="47"/>
        <pc:sldMkLst>
          <pc:docMk/>
          <pc:sldMk cId="529998100" sldId="336"/>
        </pc:sldMkLst>
      </pc:sldChg>
      <pc:sldChg chg="del">
        <pc:chgData name="Feri Carnu" userId="dca46e56149d37a2" providerId="LiveId" clId="{64F12FFF-093A-464E-8A18-9473212A9E49}" dt="2023-05-19T19:18:50.801" v="424" actId="47"/>
        <pc:sldMkLst>
          <pc:docMk/>
          <pc:sldMk cId="3405433239" sldId="339"/>
        </pc:sldMkLst>
      </pc:sldChg>
      <pc:sldChg chg="del">
        <pc:chgData name="Feri Carnu" userId="dca46e56149d37a2" providerId="LiveId" clId="{64F12FFF-093A-464E-8A18-9473212A9E49}" dt="2023-05-19T19:18:46.240" v="369" actId="47"/>
        <pc:sldMkLst>
          <pc:docMk/>
          <pc:sldMk cId="255591453" sldId="340"/>
        </pc:sldMkLst>
      </pc:sldChg>
      <pc:sldChg chg="del">
        <pc:chgData name="Feri Carnu" userId="dca46e56149d37a2" providerId="LiveId" clId="{64F12FFF-093A-464E-8A18-9473212A9E49}" dt="2023-05-19T19:18:47.235" v="372" actId="47"/>
        <pc:sldMkLst>
          <pc:docMk/>
          <pc:sldMk cId="669797338" sldId="341"/>
        </pc:sldMkLst>
      </pc:sldChg>
      <pc:sldChg chg="del">
        <pc:chgData name="Feri Carnu" userId="dca46e56149d37a2" providerId="LiveId" clId="{64F12FFF-093A-464E-8A18-9473212A9E49}" dt="2023-05-19T19:18:47.817" v="375" actId="47"/>
        <pc:sldMkLst>
          <pc:docMk/>
          <pc:sldMk cId="2159355435" sldId="342"/>
        </pc:sldMkLst>
      </pc:sldChg>
      <pc:sldChg chg="addSp delSp modSp add del mod ord modTransition">
        <pc:chgData name="Feri Carnu" userId="dca46e56149d37a2" providerId="LiveId" clId="{64F12FFF-093A-464E-8A18-9473212A9E49}" dt="2023-06-07T12:54:05.844" v="3245"/>
        <pc:sldMkLst>
          <pc:docMk/>
          <pc:sldMk cId="41984877" sldId="343"/>
        </pc:sldMkLst>
        <pc:spChg chg="del">
          <ac:chgData name="Feri Carnu" userId="dca46e56149d37a2" providerId="LiveId" clId="{64F12FFF-093A-464E-8A18-9473212A9E49}" dt="2023-05-19T21:03:50.912" v="687" actId="478"/>
          <ac:spMkLst>
            <pc:docMk/>
            <pc:sldMk cId="41984877" sldId="343"/>
            <ac:spMk id="2" creationId="{27507DB2-A004-4C7F-BB03-CAB07E07A0D3}"/>
          </ac:spMkLst>
        </pc:spChg>
        <pc:spChg chg="del mod">
          <ac:chgData name="Feri Carnu" userId="dca46e56149d37a2" providerId="LiveId" clId="{64F12FFF-093A-464E-8A18-9473212A9E49}" dt="2023-05-19T21:05:35.461" v="737" actId="478"/>
          <ac:spMkLst>
            <pc:docMk/>
            <pc:sldMk cId="41984877" sldId="343"/>
            <ac:spMk id="6" creationId="{C7413F94-559E-46DF-A817-2051A7BA92CB}"/>
          </ac:spMkLst>
        </pc:spChg>
        <pc:spChg chg="add del">
          <ac:chgData name="Feri Carnu" userId="dca46e56149d37a2" providerId="LiveId" clId="{64F12FFF-093A-464E-8A18-9473212A9E49}" dt="2023-05-19T19:43:33.778" v="648" actId="478"/>
          <ac:spMkLst>
            <pc:docMk/>
            <pc:sldMk cId="41984877" sldId="343"/>
            <ac:spMk id="7" creationId="{05C4E4C3-CB08-4085-B570-558FBC89F3FC}"/>
          </ac:spMkLst>
        </pc:spChg>
        <pc:spChg chg="add del mod">
          <ac:chgData name="Feri Carnu" userId="dca46e56149d37a2" providerId="LiveId" clId="{64F12FFF-093A-464E-8A18-9473212A9E49}" dt="2023-05-19T19:37:56.225" v="572" actId="931"/>
          <ac:spMkLst>
            <pc:docMk/>
            <pc:sldMk cId="41984877" sldId="343"/>
            <ac:spMk id="11" creationId="{113F6683-ED35-3A26-42EC-2A49147FDD34}"/>
          </ac:spMkLst>
        </pc:spChg>
        <pc:spChg chg="add del mod">
          <ac:chgData name="Feri Carnu" userId="dca46e56149d37a2" providerId="LiveId" clId="{64F12FFF-093A-464E-8A18-9473212A9E49}" dt="2023-05-19T19:40:48.551" v="606"/>
          <ac:spMkLst>
            <pc:docMk/>
            <pc:sldMk cId="41984877" sldId="343"/>
            <ac:spMk id="15" creationId="{3A9C5D47-6C73-2EE1-5213-14281818E78C}"/>
          </ac:spMkLst>
        </pc:spChg>
        <pc:spChg chg="add del mod">
          <ac:chgData name="Feri Carnu" userId="dca46e56149d37a2" providerId="LiveId" clId="{64F12FFF-093A-464E-8A18-9473212A9E49}" dt="2023-05-19T19:41:37.654" v="625" actId="478"/>
          <ac:spMkLst>
            <pc:docMk/>
            <pc:sldMk cId="41984877" sldId="343"/>
            <ac:spMk id="26" creationId="{F1E14E6B-D021-3FF8-609A-22E1345574CA}"/>
          </ac:spMkLst>
        </pc:spChg>
        <pc:spChg chg="add del mod">
          <ac:chgData name="Feri Carnu" userId="dca46e56149d37a2" providerId="LiveId" clId="{64F12FFF-093A-464E-8A18-9473212A9E49}" dt="2023-05-19T21:03:52.655" v="688" actId="478"/>
          <ac:spMkLst>
            <pc:docMk/>
            <pc:sldMk cId="41984877" sldId="343"/>
            <ac:spMk id="32" creationId="{764A6200-A7B5-5CE6-2D8F-B2D7201C3364}"/>
          </ac:spMkLst>
        </pc:spChg>
        <pc:spChg chg="add del mod">
          <ac:chgData name="Feri Carnu" userId="dca46e56149d37a2" providerId="LiveId" clId="{64F12FFF-093A-464E-8A18-9473212A9E49}" dt="2023-05-21T19:40:53.785" v="1030" actId="12"/>
          <ac:spMkLst>
            <pc:docMk/>
            <pc:sldMk cId="41984877" sldId="343"/>
            <ac:spMk id="34" creationId="{0766137C-6B18-1F2D-3A2C-532E13E2AFBF}"/>
          </ac:spMkLst>
        </pc:spChg>
        <pc:picChg chg="add del">
          <ac:chgData name="Feri Carnu" userId="dca46e56149d37a2" providerId="LiveId" clId="{64F12FFF-093A-464E-8A18-9473212A9E49}" dt="2023-05-19T19:37:32.105" v="565" actId="478"/>
          <ac:picMkLst>
            <pc:docMk/>
            <pc:sldMk cId="41984877" sldId="343"/>
            <ac:picMk id="4" creationId="{F2F219F7-5B93-E19D-2E2C-327584FCAF6A}"/>
          </ac:picMkLst>
        </pc:picChg>
        <pc:picChg chg="add del mod">
          <ac:chgData name="Feri Carnu" userId="dca46e56149d37a2" providerId="LiveId" clId="{64F12FFF-093A-464E-8A18-9473212A9E49}" dt="2023-05-19T19:37:45.920" v="571" actId="478"/>
          <ac:picMkLst>
            <pc:docMk/>
            <pc:sldMk cId="41984877" sldId="343"/>
            <ac:picMk id="8" creationId="{D56225AA-3F14-800D-5AE0-068E26B3505F}"/>
          </ac:picMkLst>
        </pc:picChg>
        <pc:picChg chg="del">
          <ac:chgData name="Feri Carnu" userId="dca46e56149d37a2" providerId="LiveId" clId="{64F12FFF-093A-464E-8A18-9473212A9E49}" dt="2023-05-19T19:37:41.277" v="568" actId="478"/>
          <ac:picMkLst>
            <pc:docMk/>
            <pc:sldMk cId="41984877" sldId="343"/>
            <ac:picMk id="9" creationId="{6D0BA59F-00D8-498B-9E95-D8E9574051B1}"/>
          </ac:picMkLst>
        </pc:picChg>
        <pc:picChg chg="add del mod modCrop">
          <ac:chgData name="Feri Carnu" userId="dca46e56149d37a2" providerId="LiveId" clId="{64F12FFF-093A-464E-8A18-9473212A9E49}" dt="2023-05-19T19:38:41.595" v="580" actId="478"/>
          <ac:picMkLst>
            <pc:docMk/>
            <pc:sldMk cId="41984877" sldId="343"/>
            <ac:picMk id="13" creationId="{EC421A6D-5736-EC0D-544D-E676C8AEF3D9}"/>
          </ac:picMkLst>
        </pc:picChg>
        <pc:picChg chg="add del mod">
          <ac:chgData name="Feri Carnu" userId="dca46e56149d37a2" providerId="LiveId" clId="{64F12FFF-093A-464E-8A18-9473212A9E49}" dt="2023-05-19T19:40:42.059" v="602"/>
          <ac:picMkLst>
            <pc:docMk/>
            <pc:sldMk cId="41984877" sldId="343"/>
            <ac:picMk id="17" creationId="{D0FBE1FB-2F80-10CA-5A23-5DE83332924E}"/>
          </ac:picMkLst>
        </pc:picChg>
        <pc:picChg chg="add del mod">
          <ac:chgData name="Feri Carnu" userId="dca46e56149d37a2" providerId="LiveId" clId="{64F12FFF-093A-464E-8A18-9473212A9E49}" dt="2023-05-19T19:40:42.059" v="602"/>
          <ac:picMkLst>
            <pc:docMk/>
            <pc:sldMk cId="41984877" sldId="343"/>
            <ac:picMk id="19" creationId="{7404DFBD-07EF-CE6F-9979-442028F34DDB}"/>
          </ac:picMkLst>
        </pc:picChg>
        <pc:picChg chg="add del mod">
          <ac:chgData name="Feri Carnu" userId="dca46e56149d37a2" providerId="LiveId" clId="{64F12FFF-093A-464E-8A18-9473212A9E49}" dt="2023-05-19T19:41:36.332" v="624" actId="478"/>
          <ac:picMkLst>
            <pc:docMk/>
            <pc:sldMk cId="41984877" sldId="343"/>
            <ac:picMk id="21" creationId="{CC2208D5-00B7-ED9F-532E-1134A6AD2738}"/>
          </ac:picMkLst>
        </pc:picChg>
        <pc:picChg chg="add mod modCrop">
          <ac:chgData name="Feri Carnu" userId="dca46e56149d37a2" providerId="LiveId" clId="{64F12FFF-093A-464E-8A18-9473212A9E49}" dt="2023-05-19T21:24:59.673" v="912" actId="14826"/>
          <ac:picMkLst>
            <pc:docMk/>
            <pc:sldMk cId="41984877" sldId="343"/>
            <ac:picMk id="23" creationId="{EDBEB0BB-ED61-B661-E0C7-D40C82282E79}"/>
          </ac:picMkLst>
        </pc:picChg>
        <pc:picChg chg="add mod modCrop">
          <ac:chgData name="Feri Carnu" userId="dca46e56149d37a2" providerId="LiveId" clId="{64F12FFF-093A-464E-8A18-9473212A9E49}" dt="2023-05-19T21:22:31.780" v="905" actId="18131"/>
          <ac:picMkLst>
            <pc:docMk/>
            <pc:sldMk cId="41984877" sldId="343"/>
            <ac:picMk id="24" creationId="{C7A5114A-B37F-9AEB-B4A2-14AB56C3AFD1}"/>
          </ac:picMkLst>
        </pc:picChg>
        <pc:picChg chg="add del mod modCrop">
          <ac:chgData name="Feri Carnu" userId="dca46e56149d37a2" providerId="LiveId" clId="{64F12FFF-093A-464E-8A18-9473212A9E49}" dt="2023-05-19T21:01:16.484" v="664" actId="478"/>
          <ac:picMkLst>
            <pc:docMk/>
            <pc:sldMk cId="41984877" sldId="343"/>
            <ac:picMk id="28" creationId="{9A5CBB59-45A0-E4BF-6A55-75759325374E}"/>
          </ac:picMkLst>
        </pc:picChg>
        <pc:picChg chg="add mod modCrop">
          <ac:chgData name="Feri Carnu" userId="dca46e56149d37a2" providerId="LiveId" clId="{64F12FFF-093A-464E-8A18-9473212A9E49}" dt="2023-05-19T21:21:39.527" v="883" actId="1076"/>
          <ac:picMkLst>
            <pc:docMk/>
            <pc:sldMk cId="41984877" sldId="343"/>
            <ac:picMk id="30" creationId="{0D9E18DC-6337-AF04-84A2-CCA53BE4F6C0}"/>
          </ac:picMkLst>
        </pc:picChg>
      </pc:sldChg>
      <pc:sldChg chg="del">
        <pc:chgData name="Feri Carnu" userId="dca46e56149d37a2" providerId="LiveId" clId="{64F12FFF-093A-464E-8A18-9473212A9E49}" dt="2023-05-19T19:18:50.315" v="409" actId="47"/>
        <pc:sldMkLst>
          <pc:docMk/>
          <pc:sldMk cId="1220026651" sldId="344"/>
        </pc:sldMkLst>
      </pc:sldChg>
      <pc:sldChg chg="del">
        <pc:chgData name="Feri Carnu" userId="dca46e56149d37a2" providerId="LiveId" clId="{64F12FFF-093A-464E-8A18-9473212A9E49}" dt="2023-05-19T19:18:50.349" v="410" actId="47"/>
        <pc:sldMkLst>
          <pc:docMk/>
          <pc:sldMk cId="3473159494" sldId="345"/>
        </pc:sldMkLst>
      </pc:sldChg>
      <pc:sldChg chg="del">
        <pc:chgData name="Feri Carnu" userId="dca46e56149d37a2" providerId="LiveId" clId="{64F12FFF-093A-464E-8A18-9473212A9E49}" dt="2023-05-19T19:18:50.503" v="414" actId="47"/>
        <pc:sldMkLst>
          <pc:docMk/>
          <pc:sldMk cId="1695493226" sldId="347"/>
        </pc:sldMkLst>
      </pc:sldChg>
      <pc:sldChg chg="del">
        <pc:chgData name="Feri Carnu" userId="dca46e56149d37a2" providerId="LiveId" clId="{64F12FFF-093A-464E-8A18-9473212A9E49}" dt="2023-05-19T19:18:50.550" v="415" actId="47"/>
        <pc:sldMkLst>
          <pc:docMk/>
          <pc:sldMk cId="3942283136" sldId="348"/>
        </pc:sldMkLst>
      </pc:sldChg>
      <pc:sldChg chg="del">
        <pc:chgData name="Feri Carnu" userId="dca46e56149d37a2" providerId="LiveId" clId="{64F12FFF-093A-464E-8A18-9473212A9E49}" dt="2023-05-19T19:18:50.566" v="416" actId="47"/>
        <pc:sldMkLst>
          <pc:docMk/>
          <pc:sldMk cId="1195743572" sldId="349"/>
        </pc:sldMkLst>
      </pc:sldChg>
      <pc:sldChg chg="del">
        <pc:chgData name="Feri Carnu" userId="dca46e56149d37a2" providerId="LiveId" clId="{64F12FFF-093A-464E-8A18-9473212A9E49}" dt="2023-05-19T19:18:50.393" v="411" actId="47"/>
        <pc:sldMkLst>
          <pc:docMk/>
          <pc:sldMk cId="3826715043" sldId="350"/>
        </pc:sldMkLst>
      </pc:sldChg>
      <pc:sldChg chg="del">
        <pc:chgData name="Feri Carnu" userId="dca46e56149d37a2" providerId="LiveId" clId="{64F12FFF-093A-464E-8A18-9473212A9E49}" dt="2023-05-19T19:18:51.241" v="426" actId="47"/>
        <pc:sldMkLst>
          <pc:docMk/>
          <pc:sldMk cId="405046474" sldId="355"/>
        </pc:sldMkLst>
      </pc:sldChg>
      <pc:sldChg chg="del">
        <pc:chgData name="Feri Carnu" userId="dca46e56149d37a2" providerId="LiveId" clId="{64F12FFF-093A-464E-8A18-9473212A9E49}" dt="2023-05-19T19:18:53.116" v="442" actId="47"/>
        <pc:sldMkLst>
          <pc:docMk/>
          <pc:sldMk cId="2435204155" sldId="358"/>
        </pc:sldMkLst>
      </pc:sldChg>
      <pc:sldChg chg="del">
        <pc:chgData name="Feri Carnu" userId="dca46e56149d37a2" providerId="LiveId" clId="{64F12FFF-093A-464E-8A18-9473212A9E49}" dt="2023-05-19T19:18:52.960" v="438" actId="47"/>
        <pc:sldMkLst>
          <pc:docMk/>
          <pc:sldMk cId="4225993985" sldId="359"/>
        </pc:sldMkLst>
      </pc:sldChg>
      <pc:sldChg chg="del">
        <pc:chgData name="Feri Carnu" userId="dca46e56149d37a2" providerId="LiveId" clId="{64F12FFF-093A-464E-8A18-9473212A9E49}" dt="2023-05-19T19:18:52.991" v="439" actId="47"/>
        <pc:sldMkLst>
          <pc:docMk/>
          <pc:sldMk cId="1248602970" sldId="360"/>
        </pc:sldMkLst>
      </pc:sldChg>
      <pc:sldChg chg="del">
        <pc:chgData name="Feri Carnu" userId="dca46e56149d37a2" providerId="LiveId" clId="{64F12FFF-093A-464E-8A18-9473212A9E49}" dt="2023-05-19T19:18:53.069" v="441" actId="47"/>
        <pc:sldMkLst>
          <pc:docMk/>
          <pc:sldMk cId="3408986054" sldId="1167"/>
        </pc:sldMkLst>
      </pc:sldChg>
      <pc:sldChg chg="del">
        <pc:chgData name="Feri Carnu" userId="dca46e56149d37a2" providerId="LiveId" clId="{64F12FFF-093A-464E-8A18-9473212A9E49}" dt="2023-05-19T19:18:50.425" v="412" actId="47"/>
        <pc:sldMkLst>
          <pc:docMk/>
          <pc:sldMk cId="3928641511" sldId="1168"/>
        </pc:sldMkLst>
      </pc:sldChg>
      <pc:sldChg chg="del">
        <pc:chgData name="Feri Carnu" userId="dca46e56149d37a2" providerId="LiveId" clId="{64F12FFF-093A-464E-8A18-9473212A9E49}" dt="2023-05-19T19:18:50.472" v="413" actId="47"/>
        <pc:sldMkLst>
          <pc:docMk/>
          <pc:sldMk cId="230818928" sldId="1169"/>
        </pc:sldMkLst>
      </pc:sldChg>
      <pc:sldChg chg="del">
        <pc:chgData name="Feri Carnu" userId="dca46e56149d37a2" providerId="LiveId" clId="{64F12FFF-093A-464E-8A18-9473212A9E49}" dt="2023-05-19T19:18:50.613" v="418" actId="47"/>
        <pc:sldMkLst>
          <pc:docMk/>
          <pc:sldMk cId="3955108308" sldId="1170"/>
        </pc:sldMkLst>
      </pc:sldChg>
      <pc:sldChg chg="del">
        <pc:chgData name="Feri Carnu" userId="dca46e56149d37a2" providerId="LiveId" clId="{64F12FFF-093A-464E-8A18-9473212A9E49}" dt="2023-05-19T19:18:50.660" v="419" actId="47"/>
        <pc:sldMkLst>
          <pc:docMk/>
          <pc:sldMk cId="2003471651" sldId="1171"/>
        </pc:sldMkLst>
      </pc:sldChg>
      <pc:sldChg chg="del">
        <pc:chgData name="Feri Carnu" userId="dca46e56149d37a2" providerId="LiveId" clId="{64F12FFF-093A-464E-8A18-9473212A9E49}" dt="2023-05-19T19:18:50.692" v="420" actId="47"/>
        <pc:sldMkLst>
          <pc:docMk/>
          <pc:sldMk cId="1614690746" sldId="1172"/>
        </pc:sldMkLst>
      </pc:sldChg>
      <pc:sldChg chg="del">
        <pc:chgData name="Feri Carnu" userId="dca46e56149d37a2" providerId="LiveId" clId="{64F12FFF-093A-464E-8A18-9473212A9E49}" dt="2023-05-19T19:18:50.723" v="421" actId="47"/>
        <pc:sldMkLst>
          <pc:docMk/>
          <pc:sldMk cId="3522152137" sldId="1173"/>
        </pc:sldMkLst>
      </pc:sldChg>
      <pc:sldChg chg="del">
        <pc:chgData name="Feri Carnu" userId="dca46e56149d37a2" providerId="LiveId" clId="{64F12FFF-093A-464E-8A18-9473212A9E49}" dt="2023-05-19T19:18:50.750" v="422" actId="47"/>
        <pc:sldMkLst>
          <pc:docMk/>
          <pc:sldMk cId="3177220602" sldId="1174"/>
        </pc:sldMkLst>
      </pc:sldChg>
      <pc:sldChg chg="del">
        <pc:chgData name="Feri Carnu" userId="dca46e56149d37a2" providerId="LiveId" clId="{64F12FFF-093A-464E-8A18-9473212A9E49}" dt="2023-05-19T19:18:52.944" v="437" actId="47"/>
        <pc:sldMkLst>
          <pc:docMk/>
          <pc:sldMk cId="435388989" sldId="1176"/>
        </pc:sldMkLst>
      </pc:sldChg>
      <pc:sldChg chg="del">
        <pc:chgData name="Feri Carnu" userId="dca46e56149d37a2" providerId="LiveId" clId="{64F12FFF-093A-464E-8A18-9473212A9E49}" dt="2023-05-19T19:18:46.859" v="371" actId="47"/>
        <pc:sldMkLst>
          <pc:docMk/>
          <pc:sldMk cId="805195560" sldId="1184"/>
        </pc:sldMkLst>
      </pc:sldChg>
      <pc:sldChg chg="del">
        <pc:chgData name="Feri Carnu" userId="dca46e56149d37a2" providerId="LiveId" clId="{64F12FFF-093A-464E-8A18-9473212A9E49}" dt="2023-05-19T19:18:46.670" v="370" actId="47"/>
        <pc:sldMkLst>
          <pc:docMk/>
          <pc:sldMk cId="166409655" sldId="1185"/>
        </pc:sldMkLst>
      </pc:sldChg>
      <pc:sldChg chg="del">
        <pc:chgData name="Feri Carnu" userId="dca46e56149d37a2" providerId="LiveId" clId="{64F12FFF-093A-464E-8A18-9473212A9E49}" dt="2023-05-19T19:18:47.707" v="374" actId="47"/>
        <pc:sldMkLst>
          <pc:docMk/>
          <pc:sldMk cId="1112151404" sldId="1186"/>
        </pc:sldMkLst>
      </pc:sldChg>
      <pc:sldChg chg="del">
        <pc:chgData name="Feri Carnu" userId="dca46e56149d37a2" providerId="LiveId" clId="{64F12FFF-093A-464E-8A18-9473212A9E49}" dt="2023-05-19T19:18:47.645" v="373" actId="47"/>
        <pc:sldMkLst>
          <pc:docMk/>
          <pc:sldMk cId="2574497111" sldId="1187"/>
        </pc:sldMkLst>
      </pc:sldChg>
      <pc:sldChg chg="del">
        <pc:chgData name="Feri Carnu" userId="dca46e56149d37a2" providerId="LiveId" clId="{64F12FFF-093A-464E-8A18-9473212A9E49}" dt="2023-05-19T19:18:49.169" v="381" actId="47"/>
        <pc:sldMkLst>
          <pc:docMk/>
          <pc:sldMk cId="1158257041" sldId="1193"/>
        </pc:sldMkLst>
      </pc:sldChg>
      <pc:sldChg chg="del">
        <pc:chgData name="Feri Carnu" userId="dca46e56149d37a2" providerId="LiveId" clId="{64F12FFF-093A-464E-8A18-9473212A9E49}" dt="2023-05-19T19:18:49.358" v="384" actId="47"/>
        <pc:sldMkLst>
          <pc:docMk/>
          <pc:sldMk cId="313436133" sldId="1194"/>
        </pc:sldMkLst>
      </pc:sldChg>
      <pc:sldChg chg="del">
        <pc:chgData name="Feri Carnu" userId="dca46e56149d37a2" providerId="LiveId" clId="{64F12FFF-093A-464E-8A18-9473212A9E49}" dt="2023-05-19T19:18:49.468" v="387" actId="47"/>
        <pc:sldMkLst>
          <pc:docMk/>
          <pc:sldMk cId="3949757256" sldId="1195"/>
        </pc:sldMkLst>
      </pc:sldChg>
      <pc:sldChg chg="del">
        <pc:chgData name="Feri Carnu" userId="dca46e56149d37a2" providerId="LiveId" clId="{64F12FFF-093A-464E-8A18-9473212A9E49}" dt="2023-05-19T19:18:52.630" v="430" actId="47"/>
        <pc:sldMkLst>
          <pc:docMk/>
          <pc:sldMk cId="1172274543" sldId="1196"/>
        </pc:sldMkLst>
      </pc:sldChg>
      <pc:sldChg chg="del">
        <pc:chgData name="Feri Carnu" userId="dca46e56149d37a2" providerId="LiveId" clId="{64F12FFF-093A-464E-8A18-9473212A9E49}" dt="2023-05-19T19:18:48.682" v="380" actId="47"/>
        <pc:sldMkLst>
          <pc:docMk/>
          <pc:sldMk cId="2563079142" sldId="1197"/>
        </pc:sldMkLst>
      </pc:sldChg>
      <pc:sldChg chg="del">
        <pc:chgData name="Feri Carnu" userId="dca46e56149d37a2" providerId="LiveId" clId="{64F12FFF-093A-464E-8A18-9473212A9E49}" dt="2023-05-19T19:18:48.304" v="378" actId="47"/>
        <pc:sldMkLst>
          <pc:docMk/>
          <pc:sldMk cId="3534921338" sldId="1198"/>
        </pc:sldMkLst>
      </pc:sldChg>
      <pc:sldChg chg="del">
        <pc:chgData name="Feri Carnu" userId="dca46e56149d37a2" providerId="LiveId" clId="{64F12FFF-093A-464E-8A18-9473212A9E49}" dt="2023-05-19T19:18:48.131" v="376" actId="47"/>
        <pc:sldMkLst>
          <pc:docMk/>
          <pc:sldMk cId="1597044643" sldId="1203"/>
        </pc:sldMkLst>
      </pc:sldChg>
      <pc:sldChg chg="del">
        <pc:chgData name="Feri Carnu" userId="dca46e56149d37a2" providerId="LiveId" clId="{64F12FFF-093A-464E-8A18-9473212A9E49}" dt="2023-05-19T19:18:48.179" v="377" actId="47"/>
        <pc:sldMkLst>
          <pc:docMk/>
          <pc:sldMk cId="3774705203" sldId="1204"/>
        </pc:sldMkLst>
      </pc:sldChg>
      <pc:sldChg chg="del">
        <pc:chgData name="Feri Carnu" userId="dca46e56149d37a2" providerId="LiveId" clId="{64F12FFF-093A-464E-8A18-9473212A9E49}" dt="2023-05-19T19:18:49.703" v="393" actId="47"/>
        <pc:sldMkLst>
          <pc:docMk/>
          <pc:sldMk cId="2158306925" sldId="1205"/>
        </pc:sldMkLst>
      </pc:sldChg>
      <pc:sldChg chg="del">
        <pc:chgData name="Feri Carnu" userId="dca46e56149d37a2" providerId="LiveId" clId="{64F12FFF-093A-464E-8A18-9473212A9E49}" dt="2023-05-19T19:18:49.828" v="396" actId="47"/>
        <pc:sldMkLst>
          <pc:docMk/>
          <pc:sldMk cId="2970369981" sldId="1206"/>
        </pc:sldMkLst>
      </pc:sldChg>
      <pc:sldChg chg="del">
        <pc:chgData name="Feri Carnu" userId="dca46e56149d37a2" providerId="LiveId" clId="{64F12FFF-093A-464E-8A18-9473212A9E49}" dt="2023-05-19T19:18:49.593" v="390" actId="47"/>
        <pc:sldMkLst>
          <pc:docMk/>
          <pc:sldMk cId="4293865725" sldId="1207"/>
        </pc:sldMkLst>
      </pc:sldChg>
      <pc:sldChg chg="del">
        <pc:chgData name="Feri Carnu" userId="dca46e56149d37a2" providerId="LiveId" clId="{64F12FFF-093A-464E-8A18-9473212A9E49}" dt="2023-05-19T19:18:50.048" v="402" actId="47"/>
        <pc:sldMkLst>
          <pc:docMk/>
          <pc:sldMk cId="3739058021" sldId="1208"/>
        </pc:sldMkLst>
      </pc:sldChg>
      <pc:sldChg chg="del">
        <pc:chgData name="Feri Carnu" userId="dca46e56149d37a2" providerId="LiveId" clId="{64F12FFF-093A-464E-8A18-9473212A9E49}" dt="2023-05-19T19:18:50.158" v="405" actId="47"/>
        <pc:sldMkLst>
          <pc:docMk/>
          <pc:sldMk cId="45352816" sldId="1209"/>
        </pc:sldMkLst>
      </pc:sldChg>
      <pc:sldChg chg="del">
        <pc:chgData name="Feri Carnu" userId="dca46e56149d37a2" providerId="LiveId" clId="{64F12FFF-093A-464E-8A18-9473212A9E49}" dt="2023-05-19T19:18:49.938" v="399" actId="47"/>
        <pc:sldMkLst>
          <pc:docMk/>
          <pc:sldMk cId="3180594592" sldId="1210"/>
        </pc:sldMkLst>
      </pc:sldChg>
      <pc:sldChg chg="del">
        <pc:chgData name="Feri Carnu" userId="dca46e56149d37a2" providerId="LiveId" clId="{64F12FFF-093A-464E-8A18-9473212A9E49}" dt="2023-05-19T19:18:53.056" v="440" actId="47"/>
        <pc:sldMkLst>
          <pc:docMk/>
          <pc:sldMk cId="939850400" sldId="1211"/>
        </pc:sldMkLst>
      </pc:sldChg>
      <pc:sldChg chg="modSp add del mod modTransition">
        <pc:chgData name="Feri Carnu" userId="dca46e56149d37a2" providerId="LiveId" clId="{64F12FFF-093A-464E-8A18-9473212A9E49}" dt="2023-06-07T12:54:05.844" v="3245"/>
        <pc:sldMkLst>
          <pc:docMk/>
          <pc:sldMk cId="1053205732" sldId="1212"/>
        </pc:sldMkLst>
        <pc:spChg chg="mod">
          <ac:chgData name="Feri Carnu" userId="dca46e56149d37a2" providerId="LiveId" clId="{64F12FFF-093A-464E-8A18-9473212A9E49}" dt="2023-05-21T20:52:52.279" v="2137" actId="20577"/>
          <ac:spMkLst>
            <pc:docMk/>
            <pc:sldMk cId="1053205732" sldId="1212"/>
            <ac:spMk id="2" creationId="{8FDA17C2-CC0D-4A70-A1C4-4DAA44F64772}"/>
          </ac:spMkLst>
        </pc:spChg>
        <pc:spChg chg="mod">
          <ac:chgData name="Feri Carnu" userId="dca46e56149d37a2" providerId="LiveId" clId="{64F12FFF-093A-464E-8A18-9473212A9E49}" dt="2023-05-21T20:52:36.908" v="2133" actId="20577"/>
          <ac:spMkLst>
            <pc:docMk/>
            <pc:sldMk cId="1053205732" sldId="1212"/>
            <ac:spMk id="5" creationId="{C14414CC-0D3D-4B70-91D9-2F124E04E6B2}"/>
          </ac:spMkLst>
        </pc:spChg>
      </pc:sldChg>
      <pc:sldChg chg="addSp delSp modSp new del mod">
        <pc:chgData name="Feri Carnu" userId="dca46e56149d37a2" providerId="LiveId" clId="{64F12FFF-093A-464E-8A18-9473212A9E49}" dt="2023-05-19T21:36:40.011" v="961" actId="47"/>
        <pc:sldMkLst>
          <pc:docMk/>
          <pc:sldMk cId="142938903" sldId="1213"/>
        </pc:sldMkLst>
        <pc:spChg chg="del">
          <ac:chgData name="Feri Carnu" userId="dca46e56149d37a2" providerId="LiveId" clId="{64F12FFF-093A-464E-8A18-9473212A9E49}" dt="2023-05-19T21:34:41.686" v="940"/>
          <ac:spMkLst>
            <pc:docMk/>
            <pc:sldMk cId="142938903" sldId="1213"/>
            <ac:spMk id="3" creationId="{5BA68DE7-C87E-B4DD-894E-822B328CE42D}"/>
          </ac:spMkLst>
        </pc:spChg>
        <pc:spChg chg="del mod">
          <ac:chgData name="Feri Carnu" userId="dca46e56149d37a2" providerId="LiveId" clId="{64F12FFF-093A-464E-8A18-9473212A9E49}" dt="2023-05-19T21:34:45.853" v="945" actId="478"/>
          <ac:spMkLst>
            <pc:docMk/>
            <pc:sldMk cId="142938903" sldId="1213"/>
            <ac:spMk id="4" creationId="{A8D01BD7-7AFB-F655-31D6-71ADD7168E11}"/>
          </ac:spMkLst>
        </pc:spChg>
        <pc:spChg chg="del">
          <ac:chgData name="Feri Carnu" userId="dca46e56149d37a2" providerId="LiveId" clId="{64F12FFF-093A-464E-8A18-9473212A9E49}" dt="2023-05-19T21:34:41.686" v="940"/>
          <ac:spMkLst>
            <pc:docMk/>
            <pc:sldMk cId="142938903" sldId="1213"/>
            <ac:spMk id="5" creationId="{62227276-97D9-689A-DBF0-FEE2F679E2D9}"/>
          </ac:spMkLst>
        </pc:spChg>
        <pc:spChg chg="add mod">
          <ac:chgData name="Feri Carnu" userId="dca46e56149d37a2" providerId="LiveId" clId="{64F12FFF-093A-464E-8A18-9473212A9E49}" dt="2023-05-19T21:36:37.416" v="960" actId="478"/>
          <ac:spMkLst>
            <pc:docMk/>
            <pc:sldMk cId="142938903" sldId="1213"/>
            <ac:spMk id="12" creationId="{70EFF551-3CCE-6B9D-C3EE-0972F143EB79}"/>
          </ac:spMkLst>
        </pc:spChg>
        <pc:spChg chg="add mod">
          <ac:chgData name="Feri Carnu" userId="dca46e56149d37a2" providerId="LiveId" clId="{64F12FFF-093A-464E-8A18-9473212A9E49}" dt="2023-05-19T21:36:37.416" v="960" actId="478"/>
          <ac:spMkLst>
            <pc:docMk/>
            <pc:sldMk cId="142938903" sldId="1213"/>
            <ac:spMk id="14" creationId="{6BC4C98B-44C4-CE0D-AF41-9ADA3D035235}"/>
          </ac:spMkLst>
        </pc:spChg>
        <pc:picChg chg="add del mod">
          <ac:chgData name="Feri Carnu" userId="dca46e56149d37a2" providerId="LiveId" clId="{64F12FFF-093A-464E-8A18-9473212A9E49}" dt="2023-05-19T21:36:37.416" v="960" actId="478"/>
          <ac:picMkLst>
            <pc:docMk/>
            <pc:sldMk cId="142938903" sldId="1213"/>
            <ac:picMk id="8" creationId="{87A8F76E-D663-DAE9-2434-A616FA44BAA1}"/>
          </ac:picMkLst>
        </pc:picChg>
        <pc:picChg chg="add del mod modCrop">
          <ac:chgData name="Feri Carnu" userId="dca46e56149d37a2" providerId="LiveId" clId="{64F12FFF-093A-464E-8A18-9473212A9E49}" dt="2023-05-19T21:36:37.416" v="960" actId="478"/>
          <ac:picMkLst>
            <pc:docMk/>
            <pc:sldMk cId="142938903" sldId="1213"/>
            <ac:picMk id="10" creationId="{0740F845-0942-AF0A-5463-3E92C5B20693}"/>
          </ac:picMkLst>
        </pc:picChg>
      </pc:sldChg>
      <pc:sldChg chg="addSp delSp modSp new mod modTransition">
        <pc:chgData name="Feri Carnu" userId="dca46e56149d37a2" providerId="LiveId" clId="{64F12FFF-093A-464E-8A18-9473212A9E49}" dt="2023-06-07T12:54:05.844" v="3245"/>
        <pc:sldMkLst>
          <pc:docMk/>
          <pc:sldMk cId="1393103478" sldId="1213"/>
        </pc:sldMkLst>
        <pc:spChg chg="mod">
          <ac:chgData name="Feri Carnu" userId="dca46e56149d37a2" providerId="LiveId" clId="{64F12FFF-093A-464E-8A18-9473212A9E49}" dt="2023-05-21T20:09:35.178" v="1178" actId="108"/>
          <ac:spMkLst>
            <pc:docMk/>
            <pc:sldMk cId="1393103478" sldId="1213"/>
            <ac:spMk id="2" creationId="{51AB595A-9CFB-4429-0BCD-23667203620D}"/>
          </ac:spMkLst>
        </pc:spChg>
        <pc:spChg chg="mod">
          <ac:chgData name="Feri Carnu" userId="dca46e56149d37a2" providerId="LiveId" clId="{64F12FFF-093A-464E-8A18-9473212A9E49}" dt="2023-05-21T20:00:26.482" v="1169" actId="20577"/>
          <ac:spMkLst>
            <pc:docMk/>
            <pc:sldMk cId="1393103478" sldId="1213"/>
            <ac:spMk id="3" creationId="{F7F0E916-FED0-77CF-E236-DE32D14999AC}"/>
          </ac:spMkLst>
        </pc:spChg>
        <pc:spChg chg="add del">
          <ac:chgData name="Feri Carnu" userId="dca46e56149d37a2" providerId="LiveId" clId="{64F12FFF-093A-464E-8A18-9473212A9E49}" dt="2023-05-21T19:56:31.155" v="1034" actId="478"/>
          <ac:spMkLst>
            <pc:docMk/>
            <pc:sldMk cId="1393103478" sldId="1213"/>
            <ac:spMk id="4" creationId="{AF20D8C5-87A7-0CC0-A56F-819EC2827C11}"/>
          </ac:spMkLst>
        </pc:spChg>
        <pc:spChg chg="del">
          <ac:chgData name="Feri Carnu" userId="dca46e56149d37a2" providerId="LiveId" clId="{64F12FFF-093A-464E-8A18-9473212A9E49}" dt="2023-05-21T20:08:36.840" v="1170" actId="931"/>
          <ac:spMkLst>
            <pc:docMk/>
            <pc:sldMk cId="1393103478" sldId="1213"/>
            <ac:spMk id="5" creationId="{4E04D172-A1EA-24F5-79CB-BB12F1F33824}"/>
          </ac:spMkLst>
        </pc:spChg>
        <pc:picChg chg="add mod modCrop">
          <ac:chgData name="Feri Carnu" userId="dca46e56149d37a2" providerId="LiveId" clId="{64F12FFF-093A-464E-8A18-9473212A9E49}" dt="2023-05-21T20:08:58.745" v="1174" actId="14100"/>
          <ac:picMkLst>
            <pc:docMk/>
            <pc:sldMk cId="1393103478" sldId="1213"/>
            <ac:picMk id="8" creationId="{E476D6B6-075E-4C2C-A7CD-C959F1CA4854}"/>
          </ac:picMkLst>
        </pc:picChg>
      </pc:sldChg>
      <pc:sldChg chg="add del">
        <pc:chgData name="Feri Carnu" userId="dca46e56149d37a2" providerId="LiveId" clId="{64F12FFF-093A-464E-8A18-9473212A9E49}" dt="2023-05-19T19:37:28.341" v="563"/>
        <pc:sldMkLst>
          <pc:docMk/>
          <pc:sldMk cId="2994904818" sldId="1213"/>
        </pc:sldMkLst>
      </pc:sldChg>
      <pc:sldChg chg="del">
        <pc:chgData name="Feri Carnu" userId="dca46e56149d37a2" providerId="LiveId" clId="{64F12FFF-093A-464E-8A18-9473212A9E49}" dt="2023-05-19T19:18:45.361" v="367" actId="47"/>
        <pc:sldMkLst>
          <pc:docMk/>
          <pc:sldMk cId="3405580895" sldId="1213"/>
        </pc:sldMkLst>
      </pc:sldChg>
      <pc:sldChg chg="del">
        <pc:chgData name="Feri Carnu" userId="dca46e56149d37a2" providerId="LiveId" clId="{64F12FFF-093A-464E-8A18-9473212A9E49}" dt="2023-05-19T19:18:45.839" v="368" actId="47"/>
        <pc:sldMkLst>
          <pc:docMk/>
          <pc:sldMk cId="2476248956" sldId="1214"/>
        </pc:sldMkLst>
      </pc:sldChg>
      <pc:sldChg chg="addSp delSp modSp new del mod modTransition">
        <pc:chgData name="Feri Carnu" userId="dca46e56149d37a2" providerId="LiveId" clId="{64F12FFF-093A-464E-8A18-9473212A9E49}" dt="2023-05-21T20:15:25.741" v="1231" actId="47"/>
        <pc:sldMkLst>
          <pc:docMk/>
          <pc:sldMk cId="3809038446" sldId="1214"/>
        </pc:sldMkLst>
        <pc:spChg chg="mod">
          <ac:chgData name="Feri Carnu" userId="dca46e56149d37a2" providerId="LiveId" clId="{64F12FFF-093A-464E-8A18-9473212A9E49}" dt="2023-05-21T20:11:26.388" v="1195" actId="20577"/>
          <ac:spMkLst>
            <pc:docMk/>
            <pc:sldMk cId="3809038446" sldId="1214"/>
            <ac:spMk id="2" creationId="{C591133A-853F-7AA5-8110-7DE1F9BFC443}"/>
          </ac:spMkLst>
        </pc:spChg>
        <pc:spChg chg="del">
          <ac:chgData name="Feri Carnu" userId="dca46e56149d37a2" providerId="LiveId" clId="{64F12FFF-093A-464E-8A18-9473212A9E49}" dt="2023-05-21T20:10:06.710" v="1180" actId="478"/>
          <ac:spMkLst>
            <pc:docMk/>
            <pc:sldMk cId="3809038446" sldId="1214"/>
            <ac:spMk id="3" creationId="{B1CA3085-91C4-134E-C667-3F6A7AD61D95}"/>
          </ac:spMkLst>
        </pc:spChg>
        <pc:spChg chg="del">
          <ac:chgData name="Feri Carnu" userId="dca46e56149d37a2" providerId="LiveId" clId="{64F12FFF-093A-464E-8A18-9473212A9E49}" dt="2023-05-21T20:10:08.570" v="1182" actId="478"/>
          <ac:spMkLst>
            <pc:docMk/>
            <pc:sldMk cId="3809038446" sldId="1214"/>
            <ac:spMk id="4" creationId="{07802744-6EF9-BCBE-87A3-4EA9E03864C4}"/>
          </ac:spMkLst>
        </pc:spChg>
        <pc:spChg chg="del">
          <ac:chgData name="Feri Carnu" userId="dca46e56149d37a2" providerId="LiveId" clId="{64F12FFF-093A-464E-8A18-9473212A9E49}" dt="2023-05-21T20:10:07.723" v="1181" actId="478"/>
          <ac:spMkLst>
            <pc:docMk/>
            <pc:sldMk cId="3809038446" sldId="1214"/>
            <ac:spMk id="5" creationId="{A6063B77-A720-14D8-963A-A4FC1D92E9D7}"/>
          </ac:spMkLst>
        </pc:spChg>
        <pc:spChg chg="add del">
          <ac:chgData name="Feri Carnu" userId="dca46e56149d37a2" providerId="LiveId" clId="{64F12FFF-093A-464E-8A18-9473212A9E49}" dt="2023-05-21T20:11:32.148" v="1197" actId="22"/>
          <ac:spMkLst>
            <pc:docMk/>
            <pc:sldMk cId="3809038446" sldId="1214"/>
            <ac:spMk id="8" creationId="{177EE0EA-40A6-1552-5CE4-E6B098AAD9CA}"/>
          </ac:spMkLst>
        </pc:spChg>
        <pc:spChg chg="add del">
          <ac:chgData name="Feri Carnu" userId="dca46e56149d37a2" providerId="LiveId" clId="{64F12FFF-093A-464E-8A18-9473212A9E49}" dt="2023-05-21T20:11:34.810" v="1199" actId="22"/>
          <ac:spMkLst>
            <pc:docMk/>
            <pc:sldMk cId="3809038446" sldId="1214"/>
            <ac:spMk id="10" creationId="{65CFC151-24DD-4690-E5C5-D20A9EE429C1}"/>
          </ac:spMkLst>
        </pc:spChg>
        <pc:spChg chg="add del mod">
          <ac:chgData name="Feri Carnu" userId="dca46e56149d37a2" providerId="LiveId" clId="{64F12FFF-093A-464E-8A18-9473212A9E49}" dt="2023-05-21T20:12:00.399" v="1204" actId="478"/>
          <ac:spMkLst>
            <pc:docMk/>
            <pc:sldMk cId="3809038446" sldId="1214"/>
            <ac:spMk id="12" creationId="{6D739E87-7D33-C3EA-6252-E79BDF1FC3E5}"/>
          </ac:spMkLst>
        </pc:spChg>
        <pc:spChg chg="add mod">
          <ac:chgData name="Feri Carnu" userId="dca46e56149d37a2" providerId="LiveId" clId="{64F12FFF-093A-464E-8A18-9473212A9E49}" dt="2023-05-21T20:13:48.116" v="1217" actId="14100"/>
          <ac:spMkLst>
            <pc:docMk/>
            <pc:sldMk cId="3809038446" sldId="1214"/>
            <ac:spMk id="13" creationId="{9D9B7307-5557-3496-3105-D7475B7C2182}"/>
          </ac:spMkLst>
        </pc:spChg>
        <pc:spChg chg="add del mod">
          <ac:chgData name="Feri Carnu" userId="dca46e56149d37a2" providerId="LiveId" clId="{64F12FFF-093A-464E-8A18-9473212A9E49}" dt="2023-05-21T20:14:25.434" v="1221" actId="478"/>
          <ac:spMkLst>
            <pc:docMk/>
            <pc:sldMk cId="3809038446" sldId="1214"/>
            <ac:spMk id="14" creationId="{F5ACF13A-324C-D736-048A-67B0D98D8CCB}"/>
          </ac:spMkLst>
        </pc:spChg>
      </pc:sldChg>
      <pc:sldChg chg="del">
        <pc:chgData name="Feri Carnu" userId="dca46e56149d37a2" providerId="LiveId" clId="{64F12FFF-093A-464E-8A18-9473212A9E49}" dt="2023-05-19T19:18:48.603" v="379" actId="47"/>
        <pc:sldMkLst>
          <pc:docMk/>
          <pc:sldMk cId="645072052" sldId="1215"/>
        </pc:sldMkLst>
      </pc:sldChg>
      <pc:sldChg chg="addSp delSp modSp new mod modTransition modAnim">
        <pc:chgData name="Feri Carnu" userId="dca46e56149d37a2" providerId="LiveId" clId="{64F12FFF-093A-464E-8A18-9473212A9E49}" dt="2023-06-07T12:54:05.844" v="3245"/>
        <pc:sldMkLst>
          <pc:docMk/>
          <pc:sldMk cId="3194529969" sldId="1215"/>
        </pc:sldMkLst>
        <pc:spChg chg="del">
          <ac:chgData name="Feri Carnu" userId="dca46e56149d37a2" providerId="LiveId" clId="{64F12FFF-093A-464E-8A18-9473212A9E49}" dt="2023-05-21T20:15:16.042" v="1229" actId="478"/>
          <ac:spMkLst>
            <pc:docMk/>
            <pc:sldMk cId="3194529969" sldId="1215"/>
            <ac:spMk id="2" creationId="{0FB49422-4424-98F7-68A4-A13063DDC232}"/>
          </ac:spMkLst>
        </pc:spChg>
        <pc:spChg chg="del">
          <ac:chgData name="Feri Carnu" userId="dca46e56149d37a2" providerId="LiveId" clId="{64F12FFF-093A-464E-8A18-9473212A9E49}" dt="2023-05-21T20:14:59.465" v="1225" actId="478"/>
          <ac:spMkLst>
            <pc:docMk/>
            <pc:sldMk cId="3194529969" sldId="1215"/>
            <ac:spMk id="3" creationId="{D74952AD-171D-8FD3-75C2-6DB412696EBF}"/>
          </ac:spMkLst>
        </pc:spChg>
        <pc:spChg chg="del">
          <ac:chgData name="Feri Carnu" userId="dca46e56149d37a2" providerId="LiveId" clId="{64F12FFF-093A-464E-8A18-9473212A9E49}" dt="2023-05-21T20:15:00.824" v="1226" actId="478"/>
          <ac:spMkLst>
            <pc:docMk/>
            <pc:sldMk cId="3194529969" sldId="1215"/>
            <ac:spMk id="4" creationId="{BF22AF31-9BD9-98C5-BBEC-A414A8C928F3}"/>
          </ac:spMkLst>
        </pc:spChg>
        <pc:spChg chg="add del mod">
          <ac:chgData name="Feri Carnu" userId="dca46e56149d37a2" providerId="LiveId" clId="{64F12FFF-093A-464E-8A18-9473212A9E49}" dt="2023-05-21T20:16:46.636" v="1237" actId="1032"/>
          <ac:spMkLst>
            <pc:docMk/>
            <pc:sldMk cId="3194529969" sldId="1215"/>
            <ac:spMk id="5" creationId="{3034D956-FFC4-78D2-FEA4-17FE14824EC9}"/>
          </ac:spMkLst>
        </pc:spChg>
        <pc:spChg chg="add mod">
          <ac:chgData name="Feri Carnu" userId="dca46e56149d37a2" providerId="LiveId" clId="{64F12FFF-093A-464E-8A18-9473212A9E49}" dt="2023-05-21T20:47:42.019" v="2002" actId="15"/>
          <ac:spMkLst>
            <pc:docMk/>
            <pc:sldMk cId="3194529969" sldId="1215"/>
            <ac:spMk id="7" creationId="{4538D298-7BB5-0A4F-40F5-60189A2EB21D}"/>
          </ac:spMkLst>
        </pc:spChg>
        <pc:spChg chg="add mod">
          <ac:chgData name="Feri Carnu" userId="dca46e56149d37a2" providerId="LiveId" clId="{64F12FFF-093A-464E-8A18-9473212A9E49}" dt="2023-05-21T21:01:53.074" v="2314" actId="108"/>
          <ac:spMkLst>
            <pc:docMk/>
            <pc:sldMk cId="3194529969" sldId="1215"/>
            <ac:spMk id="8" creationId="{24E18847-575C-E635-E02E-7436D9D8478C}"/>
          </ac:spMkLst>
        </pc:spChg>
        <pc:spChg chg="add del mod">
          <ac:chgData name="Feri Carnu" userId="dca46e56149d37a2" providerId="LiveId" clId="{64F12FFF-093A-464E-8A18-9473212A9E49}" dt="2023-05-21T20:19:45.730" v="1254" actId="1032"/>
          <ac:spMkLst>
            <pc:docMk/>
            <pc:sldMk cId="3194529969" sldId="1215"/>
            <ac:spMk id="11" creationId="{5043A671-388E-2495-589E-682189758B9E}"/>
          </ac:spMkLst>
        </pc:spChg>
        <pc:spChg chg="add del mod">
          <ac:chgData name="Feri Carnu" userId="dca46e56149d37a2" providerId="LiveId" clId="{64F12FFF-093A-464E-8A18-9473212A9E49}" dt="2023-05-21T20:22:37.828" v="1471" actId="1032"/>
          <ac:spMkLst>
            <pc:docMk/>
            <pc:sldMk cId="3194529969" sldId="1215"/>
            <ac:spMk id="14" creationId="{5A0EFBFF-6452-011A-41C3-41B0C0C33287}"/>
          </ac:spMkLst>
        </pc:spChg>
        <pc:spChg chg="mod topLvl">
          <ac:chgData name="Feri Carnu" userId="dca46e56149d37a2" providerId="LiveId" clId="{64F12FFF-093A-464E-8A18-9473212A9E49}" dt="2023-05-21T23:13:06.220" v="2707" actId="165"/>
          <ac:spMkLst>
            <pc:docMk/>
            <pc:sldMk cId="3194529969" sldId="1215"/>
            <ac:spMk id="17" creationId="{4D8F0E91-940E-4502-1C6E-1A10422B2DFF}"/>
          </ac:spMkLst>
        </pc:spChg>
        <pc:spChg chg="mod topLvl">
          <ac:chgData name="Feri Carnu" userId="dca46e56149d37a2" providerId="LiveId" clId="{64F12FFF-093A-464E-8A18-9473212A9E49}" dt="2023-05-21T23:13:06.220" v="2707" actId="165"/>
          <ac:spMkLst>
            <pc:docMk/>
            <pc:sldMk cId="3194529969" sldId="1215"/>
            <ac:spMk id="18" creationId="{EC854D20-5CF0-586C-0040-F09ED327A41A}"/>
          </ac:spMkLst>
        </pc:spChg>
        <pc:spChg chg="del mod">
          <ac:chgData name="Feri Carnu" userId="dca46e56149d37a2" providerId="LiveId" clId="{64F12FFF-093A-464E-8A18-9473212A9E49}" dt="2023-05-21T20:40:24.609" v="1888" actId="478"/>
          <ac:spMkLst>
            <pc:docMk/>
            <pc:sldMk cId="3194529969" sldId="1215"/>
            <ac:spMk id="19" creationId="{005B301E-9507-1391-952D-605025BF8CF8}"/>
          </ac:spMkLst>
        </pc:spChg>
        <pc:spChg chg="mod topLvl">
          <ac:chgData name="Feri Carnu" userId="dca46e56149d37a2" providerId="LiveId" clId="{64F12FFF-093A-464E-8A18-9473212A9E49}" dt="2023-05-21T23:13:06.220" v="2707" actId="165"/>
          <ac:spMkLst>
            <pc:docMk/>
            <pc:sldMk cId="3194529969" sldId="1215"/>
            <ac:spMk id="20" creationId="{1F28C828-C03E-50EC-FDED-A1AA6EC7C1FC}"/>
          </ac:spMkLst>
        </pc:spChg>
        <pc:spChg chg="mod topLvl">
          <ac:chgData name="Feri Carnu" userId="dca46e56149d37a2" providerId="LiveId" clId="{64F12FFF-093A-464E-8A18-9473212A9E49}" dt="2023-05-21T23:13:06.220" v="2707" actId="165"/>
          <ac:spMkLst>
            <pc:docMk/>
            <pc:sldMk cId="3194529969" sldId="1215"/>
            <ac:spMk id="21" creationId="{25D436B1-424C-6DAC-A93B-1AD0EC95DF55}"/>
          </ac:spMkLst>
        </pc:spChg>
        <pc:spChg chg="mod topLvl">
          <ac:chgData name="Feri Carnu" userId="dca46e56149d37a2" providerId="LiveId" clId="{64F12FFF-093A-464E-8A18-9473212A9E49}" dt="2023-05-21T23:13:06.220" v="2707" actId="165"/>
          <ac:spMkLst>
            <pc:docMk/>
            <pc:sldMk cId="3194529969" sldId="1215"/>
            <ac:spMk id="22" creationId="{581E1C88-9FE7-EC48-F799-D1B8EBCB47A2}"/>
          </ac:spMkLst>
        </pc:spChg>
        <pc:spChg chg="mod topLvl">
          <ac:chgData name="Feri Carnu" userId="dca46e56149d37a2" providerId="LiveId" clId="{64F12FFF-093A-464E-8A18-9473212A9E49}" dt="2023-05-21T23:13:06.220" v="2707" actId="165"/>
          <ac:spMkLst>
            <pc:docMk/>
            <pc:sldMk cId="3194529969" sldId="1215"/>
            <ac:spMk id="23" creationId="{80A59E74-7ACF-895E-C893-9B6C328FCC7E}"/>
          </ac:spMkLst>
        </pc:spChg>
        <pc:spChg chg="add del mod">
          <ac:chgData name="Feri Carnu" userId="dca46e56149d37a2" providerId="LiveId" clId="{64F12FFF-093A-464E-8A18-9473212A9E49}" dt="2023-05-21T20:39:42.912" v="1886"/>
          <ac:spMkLst>
            <pc:docMk/>
            <pc:sldMk cId="3194529969" sldId="1215"/>
            <ac:spMk id="24" creationId="{DF062788-6C39-1E9D-A5FD-4276C7BB641C}"/>
          </ac:spMkLst>
        </pc:spChg>
        <pc:spChg chg="add mod ord">
          <ac:chgData name="Feri Carnu" userId="dca46e56149d37a2" providerId="LiveId" clId="{64F12FFF-093A-464E-8A18-9473212A9E49}" dt="2023-05-21T21:05:32.408" v="2338" actId="14100"/>
          <ac:spMkLst>
            <pc:docMk/>
            <pc:sldMk cId="3194529969" sldId="1215"/>
            <ac:spMk id="25" creationId="{91CE3F37-9BB5-E3AC-D820-27F7343E86DD}"/>
          </ac:spMkLst>
        </pc:spChg>
        <pc:grpChg chg="add del mod">
          <ac:chgData name="Feri Carnu" userId="dca46e56149d37a2" providerId="LiveId" clId="{64F12FFF-093A-464E-8A18-9473212A9E49}" dt="2023-05-21T23:13:06.220" v="2707" actId="165"/>
          <ac:grpSpMkLst>
            <pc:docMk/>
            <pc:sldMk cId="3194529969" sldId="1215"/>
            <ac:grpSpMk id="16" creationId="{AEE8F3EF-EF48-7918-521B-DC1FB44356E3}"/>
          </ac:grpSpMkLst>
        </pc:grpChg>
        <pc:graphicFrameChg chg="add del mod modGraphic">
          <ac:chgData name="Feri Carnu" userId="dca46e56149d37a2" providerId="LiveId" clId="{64F12FFF-093A-464E-8A18-9473212A9E49}" dt="2023-05-21T20:17:53.360" v="1253" actId="478"/>
          <ac:graphicFrameMkLst>
            <pc:docMk/>
            <pc:sldMk cId="3194529969" sldId="1215"/>
            <ac:graphicFrameMk id="9" creationId="{824F2D02-9194-05C2-5A57-D956796AEC00}"/>
          </ac:graphicFrameMkLst>
        </pc:graphicFrameChg>
        <pc:graphicFrameChg chg="add del mod modGraphic">
          <ac:chgData name="Feri Carnu" userId="dca46e56149d37a2" providerId="LiveId" clId="{64F12FFF-093A-464E-8A18-9473212A9E49}" dt="2023-05-21T20:21:56.947" v="1470" actId="478"/>
          <ac:graphicFrameMkLst>
            <pc:docMk/>
            <pc:sldMk cId="3194529969" sldId="1215"/>
            <ac:graphicFrameMk id="12" creationId="{6048E4DB-2296-0037-3DD7-9213AD085F53}"/>
          </ac:graphicFrameMkLst>
        </pc:graphicFrameChg>
        <pc:graphicFrameChg chg="add del mod modGraphic">
          <ac:chgData name="Feri Carnu" userId="dca46e56149d37a2" providerId="LiveId" clId="{64F12FFF-093A-464E-8A18-9473212A9E49}" dt="2023-05-21T20:38:52.905" v="1872" actId="18245"/>
          <ac:graphicFrameMkLst>
            <pc:docMk/>
            <pc:sldMk cId="3194529969" sldId="1215"/>
            <ac:graphicFrameMk id="15" creationId="{C2DA45DC-7719-2886-5D2A-E5A6BAD66993}"/>
          </ac:graphicFrameMkLst>
        </pc:graphicFrameChg>
        <pc:picChg chg="add del mod">
          <ac:chgData name="Feri Carnu" userId="dca46e56149d37a2" providerId="LiveId" clId="{64F12FFF-093A-464E-8A18-9473212A9E49}" dt="2023-05-21T21:08:22.546" v="2376" actId="478"/>
          <ac:picMkLst>
            <pc:docMk/>
            <pc:sldMk cId="3194529969" sldId="1215"/>
            <ac:picMk id="26" creationId="{76B2B7E7-17D3-BBE8-AE78-0BF325BD965A}"/>
          </ac:picMkLst>
        </pc:picChg>
      </pc:sldChg>
      <pc:sldChg chg="del">
        <pc:chgData name="Feri Carnu" userId="dca46e56149d37a2" providerId="LiveId" clId="{64F12FFF-093A-464E-8A18-9473212A9E49}" dt="2023-05-19T19:18:49.248" v="382" actId="47"/>
        <pc:sldMkLst>
          <pc:docMk/>
          <pc:sldMk cId="131160898" sldId="1216"/>
        </pc:sldMkLst>
      </pc:sldChg>
      <pc:sldChg chg="addSp delSp modSp new mod modTransition delAnim modAnim">
        <pc:chgData name="Feri Carnu" userId="dca46e56149d37a2" providerId="LiveId" clId="{64F12FFF-093A-464E-8A18-9473212A9E49}" dt="2023-06-07T12:54:05.844" v="3245"/>
        <pc:sldMkLst>
          <pc:docMk/>
          <pc:sldMk cId="171323570" sldId="1216"/>
        </pc:sldMkLst>
        <pc:spChg chg="mod">
          <ac:chgData name="Feri Carnu" userId="dca46e56149d37a2" providerId="LiveId" clId="{64F12FFF-093A-464E-8A18-9473212A9E49}" dt="2023-05-21T21:01:56.982" v="2315" actId="108"/>
          <ac:spMkLst>
            <pc:docMk/>
            <pc:sldMk cId="171323570" sldId="1216"/>
            <ac:spMk id="2" creationId="{55182A55-E76E-A111-EDA3-520F17CC7710}"/>
          </ac:spMkLst>
        </pc:spChg>
        <pc:spChg chg="mod">
          <ac:chgData name="Feri Carnu" userId="dca46e56149d37a2" providerId="LiveId" clId="{64F12FFF-093A-464E-8A18-9473212A9E49}" dt="2023-05-21T20:59:28.992" v="2312" actId="20577"/>
          <ac:spMkLst>
            <pc:docMk/>
            <pc:sldMk cId="171323570" sldId="1216"/>
            <ac:spMk id="3" creationId="{9C7267CC-9212-9D88-6676-CF50C337C64B}"/>
          </ac:spMkLst>
        </pc:spChg>
        <pc:spChg chg="del">
          <ac:chgData name="Feri Carnu" userId="dca46e56149d37a2" providerId="LiveId" clId="{64F12FFF-093A-464E-8A18-9473212A9E49}" dt="2023-05-21T20:49:39.228" v="2008" actId="478"/>
          <ac:spMkLst>
            <pc:docMk/>
            <pc:sldMk cId="171323570" sldId="1216"/>
            <ac:spMk id="4" creationId="{9A29CD05-DB74-E107-8617-937C14DCF769}"/>
          </ac:spMkLst>
        </pc:spChg>
        <pc:spChg chg="del mod">
          <ac:chgData name="Feri Carnu" userId="dca46e56149d37a2" providerId="LiveId" clId="{64F12FFF-093A-464E-8A18-9473212A9E49}" dt="2023-05-21T20:49:48.337" v="2010" actId="22"/>
          <ac:spMkLst>
            <pc:docMk/>
            <pc:sldMk cId="171323570" sldId="1216"/>
            <ac:spMk id="5" creationId="{C703736A-5DD9-B763-5045-21D0BAD68DDB}"/>
          </ac:spMkLst>
        </pc:spChg>
        <pc:spChg chg="add del mod">
          <ac:chgData name="Feri Carnu" userId="dca46e56149d37a2" providerId="LiveId" clId="{64F12FFF-093A-464E-8A18-9473212A9E49}" dt="2023-05-21T21:48:17.216" v="2380"/>
          <ac:spMkLst>
            <pc:docMk/>
            <pc:sldMk cId="171323570" sldId="1216"/>
            <ac:spMk id="11" creationId="{B645B989-BA73-4C73-A0D9-57DB49030BD5}"/>
          </ac:spMkLst>
        </pc:spChg>
        <pc:picChg chg="add del mod ord">
          <ac:chgData name="Feri Carnu" userId="dca46e56149d37a2" providerId="LiveId" clId="{64F12FFF-093A-464E-8A18-9473212A9E49}" dt="2023-05-21T21:48:08.233" v="2379" actId="478"/>
          <ac:picMkLst>
            <pc:docMk/>
            <pc:sldMk cId="171323570" sldId="1216"/>
            <ac:picMk id="8" creationId="{05EF7F49-34E6-8D7F-73CB-ABD596432E5B}"/>
          </ac:picMkLst>
        </pc:picChg>
        <pc:picChg chg="add del mod">
          <ac:chgData name="Feri Carnu" userId="dca46e56149d37a2" providerId="LiveId" clId="{64F12FFF-093A-464E-8A18-9473212A9E49}" dt="2023-05-21T21:48:05.932" v="2378" actId="478"/>
          <ac:picMkLst>
            <pc:docMk/>
            <pc:sldMk cId="171323570" sldId="1216"/>
            <ac:picMk id="9" creationId="{C0F72D8F-5A37-3918-5196-45E28BC2128E}"/>
          </ac:picMkLst>
        </pc:picChg>
        <pc:picChg chg="add mod modCrop">
          <ac:chgData name="Feri Carnu" userId="dca46e56149d37a2" providerId="LiveId" clId="{64F12FFF-093A-464E-8A18-9473212A9E49}" dt="2023-05-21T21:54:08.399" v="2400"/>
          <ac:picMkLst>
            <pc:docMk/>
            <pc:sldMk cId="171323570" sldId="1216"/>
            <ac:picMk id="12" creationId="{D5192E49-435D-FA47-CEE2-B8CEB4198329}"/>
          </ac:picMkLst>
        </pc:picChg>
      </pc:sldChg>
      <pc:sldChg chg="addSp delSp modSp new mod modTransition setBg delAnim modAnim">
        <pc:chgData name="Feri Carnu" userId="dca46e56149d37a2" providerId="LiveId" clId="{64F12FFF-093A-464E-8A18-9473212A9E49}" dt="2023-06-07T19:19:55.642" v="3282" actId="14100"/>
        <pc:sldMkLst>
          <pc:docMk/>
          <pc:sldMk cId="1366193074" sldId="1217"/>
        </pc:sldMkLst>
        <pc:spChg chg="del">
          <ac:chgData name="Feri Carnu" userId="dca46e56149d37a2" providerId="LiveId" clId="{64F12FFF-093A-464E-8A18-9473212A9E49}" dt="2023-05-21T23:02:33.833" v="2668" actId="478"/>
          <ac:spMkLst>
            <pc:docMk/>
            <pc:sldMk cId="1366193074" sldId="1217"/>
            <ac:spMk id="2" creationId="{08E6AFA8-1563-5FB8-F65E-A13898375285}"/>
          </ac:spMkLst>
        </pc:spChg>
        <pc:spChg chg="del">
          <ac:chgData name="Feri Carnu" userId="dca46e56149d37a2" providerId="LiveId" clId="{64F12FFF-093A-464E-8A18-9473212A9E49}" dt="2023-05-21T23:02:33.833" v="2668" actId="478"/>
          <ac:spMkLst>
            <pc:docMk/>
            <pc:sldMk cId="1366193074" sldId="1217"/>
            <ac:spMk id="3" creationId="{05673D2C-5F43-8B15-08F8-37156402CB63}"/>
          </ac:spMkLst>
        </pc:spChg>
        <pc:spChg chg="add mod modVis">
          <ac:chgData name="Feri Carnu" userId="dca46e56149d37a2" providerId="LiveId" clId="{64F12FFF-093A-464E-8A18-9473212A9E49}" dt="2023-06-07T19:19:55.642" v="3282" actId="14100"/>
          <ac:spMkLst>
            <pc:docMk/>
            <pc:sldMk cId="1366193074" sldId="1217"/>
            <ac:spMk id="4" creationId="{3416CDBB-BDCD-6BAF-072D-C170702BD676}"/>
          </ac:spMkLst>
        </pc:spChg>
        <pc:spChg chg="del">
          <ac:chgData name="Feri Carnu" userId="dca46e56149d37a2" providerId="LiveId" clId="{64F12FFF-093A-464E-8A18-9473212A9E49}" dt="2023-05-21T23:02:33.833" v="2668" actId="478"/>
          <ac:spMkLst>
            <pc:docMk/>
            <pc:sldMk cId="1366193074" sldId="1217"/>
            <ac:spMk id="4" creationId="{D33AE7E4-80AF-A42C-61A5-D40A359348A4}"/>
          </ac:spMkLst>
        </pc:spChg>
        <pc:spChg chg="del">
          <ac:chgData name="Feri Carnu" userId="dca46e56149d37a2" providerId="LiveId" clId="{64F12FFF-093A-464E-8A18-9473212A9E49}" dt="2023-05-21T23:02:33.833" v="2668" actId="478"/>
          <ac:spMkLst>
            <pc:docMk/>
            <pc:sldMk cId="1366193074" sldId="1217"/>
            <ac:spMk id="5" creationId="{DE501298-1497-838B-6D1D-3230DDBC2D72}"/>
          </ac:spMkLst>
        </pc:spChg>
        <pc:spChg chg="del">
          <ac:chgData name="Feri Carnu" userId="dca46e56149d37a2" providerId="LiveId" clId="{64F12FFF-093A-464E-8A18-9473212A9E49}" dt="2023-05-21T23:02:33.833" v="2668" actId="478"/>
          <ac:spMkLst>
            <pc:docMk/>
            <pc:sldMk cId="1366193074" sldId="1217"/>
            <ac:spMk id="6" creationId="{122DC6AF-D584-C4AE-648F-03E36796B1E0}"/>
          </ac:spMkLst>
        </pc:spChg>
        <pc:spChg chg="add mod modVis">
          <ac:chgData name="Feri Carnu" userId="dca46e56149d37a2" providerId="LiveId" clId="{64F12FFF-093A-464E-8A18-9473212A9E49}" dt="2023-06-06T10:15:58.325" v="3062" actId="14429"/>
          <ac:spMkLst>
            <pc:docMk/>
            <pc:sldMk cId="1366193074" sldId="1217"/>
            <ac:spMk id="8" creationId="{D3560FB0-8103-2738-777D-8C530FAE1016}"/>
          </ac:spMkLst>
        </pc:spChg>
        <pc:spChg chg="add del mod">
          <ac:chgData name="Feri Carnu" userId="dca46e56149d37a2" providerId="LiveId" clId="{64F12FFF-093A-464E-8A18-9473212A9E49}" dt="2023-05-21T23:15:22.329" v="2709"/>
          <ac:spMkLst>
            <pc:docMk/>
            <pc:sldMk cId="1366193074" sldId="1217"/>
            <ac:spMk id="9" creationId="{C34A159E-A0D0-BA40-98C8-B9F5E86EFD7E}"/>
          </ac:spMkLst>
        </pc:spChg>
        <pc:spChg chg="add mod modVis">
          <ac:chgData name="Feri Carnu" userId="dca46e56149d37a2" providerId="LiveId" clId="{64F12FFF-093A-464E-8A18-9473212A9E49}" dt="2023-06-06T10:15:59.175" v="3064" actId="14429"/>
          <ac:spMkLst>
            <pc:docMk/>
            <pc:sldMk cId="1366193074" sldId="1217"/>
            <ac:spMk id="10" creationId="{72A69F76-363B-1969-7C2B-89D6386061B4}"/>
          </ac:spMkLst>
        </pc:spChg>
        <pc:spChg chg="add del mod modVis">
          <ac:chgData name="Feri Carnu" userId="dca46e56149d37a2" providerId="LiveId" clId="{64F12FFF-093A-464E-8A18-9473212A9E49}" dt="2023-06-06T10:17:29.136" v="3089" actId="21"/>
          <ac:spMkLst>
            <pc:docMk/>
            <pc:sldMk cId="1366193074" sldId="1217"/>
            <ac:spMk id="12" creationId="{AB8C311F-7253-4AED-9701-7FC0708C41C7}"/>
          </ac:spMkLst>
        </pc:spChg>
        <pc:spChg chg="add del mod modVis">
          <ac:chgData name="Feri Carnu" userId="dca46e56149d37a2" providerId="LiveId" clId="{64F12FFF-093A-464E-8A18-9473212A9E49}" dt="2023-06-06T10:17:29.136" v="3089" actId="21"/>
          <ac:spMkLst>
            <pc:docMk/>
            <pc:sldMk cId="1366193074" sldId="1217"/>
            <ac:spMk id="14" creationId="{E2384209-CB15-4CDF-9D31-C44FD9A3F20D}"/>
          </ac:spMkLst>
        </pc:spChg>
        <pc:spChg chg="add del mod modVis">
          <ac:chgData name="Feri Carnu" userId="dca46e56149d37a2" providerId="LiveId" clId="{64F12FFF-093A-464E-8A18-9473212A9E49}" dt="2023-06-06T10:17:29.136" v="3089" actId="21"/>
          <ac:spMkLst>
            <pc:docMk/>
            <pc:sldMk cId="1366193074" sldId="1217"/>
            <ac:spMk id="16" creationId="{2633B3B5-CC90-43F0-8714-D31D1F3F0209}"/>
          </ac:spMkLst>
        </pc:spChg>
        <pc:spChg chg="add del mod modVis">
          <ac:chgData name="Feri Carnu" userId="dca46e56149d37a2" providerId="LiveId" clId="{64F12FFF-093A-464E-8A18-9473212A9E49}" dt="2023-06-06T10:17:29.136" v="3089" actId="21"/>
          <ac:spMkLst>
            <pc:docMk/>
            <pc:sldMk cId="1366193074" sldId="1217"/>
            <ac:spMk id="18" creationId="{A8D57A06-A426-446D-B02C-A2DC6B62E45E}"/>
          </ac:spMkLst>
        </pc:spChg>
        <pc:picChg chg="add del mod modVis">
          <ac:chgData name="Feri Carnu" userId="dca46e56149d37a2" providerId="LiveId" clId="{64F12FFF-093A-464E-8A18-9473212A9E49}" dt="2023-06-07T19:16:56.004" v="3249" actId="478"/>
          <ac:picMkLst>
            <pc:docMk/>
            <pc:sldMk cId="1366193074" sldId="1217"/>
            <ac:picMk id="2" creationId="{0FA74FBC-6110-23A3-21E0-F16D9150DB97}"/>
          </ac:picMkLst>
        </pc:picChg>
        <pc:picChg chg="add del mod">
          <ac:chgData name="Feri Carnu" userId="dca46e56149d37a2" providerId="LiveId" clId="{64F12FFF-093A-464E-8A18-9473212A9E49}" dt="2023-06-07T19:17:03.805" v="3253" actId="22"/>
          <ac:picMkLst>
            <pc:docMk/>
            <pc:sldMk cId="1366193074" sldId="1217"/>
            <ac:picMk id="5" creationId="{91AB931E-AE02-681C-58FA-C09E998F1660}"/>
          </ac:picMkLst>
        </pc:picChg>
        <pc:picChg chg="add mod">
          <ac:chgData name="Feri Carnu" userId="dca46e56149d37a2" providerId="LiveId" clId="{64F12FFF-093A-464E-8A18-9473212A9E49}" dt="2023-06-07T19:18:15.811" v="3258" actId="1076"/>
          <ac:picMkLst>
            <pc:docMk/>
            <pc:sldMk cId="1366193074" sldId="1217"/>
            <ac:picMk id="7" creationId="{050A1D50-003A-F14D-860F-48EDCBF6EA11}"/>
          </ac:picMkLst>
        </pc:picChg>
        <pc:picChg chg="add del mod">
          <ac:chgData name="Feri Carnu" userId="dca46e56149d37a2" providerId="LiveId" clId="{64F12FFF-093A-464E-8A18-9473212A9E49}" dt="2023-06-06T10:05:00.076" v="2826" actId="478"/>
          <ac:picMkLst>
            <pc:docMk/>
            <pc:sldMk cId="1366193074" sldId="1217"/>
            <ac:picMk id="7" creationId="{DA36B785-44D4-30BB-13F7-14079EF40093}"/>
          </ac:picMkLst>
        </pc:picChg>
        <pc:picChg chg="add del mod">
          <ac:chgData name="Feri Carnu" userId="dca46e56149d37a2" providerId="LiveId" clId="{64F12FFF-093A-464E-8A18-9473212A9E49}" dt="2023-05-21T23:16:30.160" v="2715" actId="478"/>
          <ac:picMkLst>
            <pc:docMk/>
            <pc:sldMk cId="1366193074" sldId="1217"/>
            <ac:picMk id="13" creationId="{DFE098A7-35E3-B757-78C4-D984D8F03B0E}"/>
          </ac:picMkLst>
        </pc:picChg>
        <pc:picChg chg="add mod modVis">
          <ac:chgData name="Feri Carnu" userId="dca46e56149d37a2" providerId="LiveId" clId="{64F12FFF-093A-464E-8A18-9473212A9E49}" dt="2023-06-06T10:15:59.955" v="3066" actId="14429"/>
          <ac:picMkLst>
            <pc:docMk/>
            <pc:sldMk cId="1366193074" sldId="1217"/>
            <ac:picMk id="15" creationId="{BA20C30C-E5F7-27F5-D523-EE113D412493}"/>
          </ac:picMkLst>
        </pc:picChg>
      </pc:sldChg>
      <pc:sldChg chg="del">
        <pc:chgData name="Feri Carnu" userId="dca46e56149d37a2" providerId="LiveId" clId="{64F12FFF-093A-464E-8A18-9473212A9E49}" dt="2023-05-19T19:18:49.326" v="383" actId="47"/>
        <pc:sldMkLst>
          <pc:docMk/>
          <pc:sldMk cId="1739704757" sldId="1217"/>
        </pc:sldMkLst>
      </pc:sldChg>
      <pc:sldChg chg="del">
        <pc:chgData name="Feri Carnu" userId="dca46e56149d37a2" providerId="LiveId" clId="{64F12FFF-093A-464E-8A18-9473212A9E49}" dt="2023-05-19T19:18:49.389" v="385" actId="47"/>
        <pc:sldMkLst>
          <pc:docMk/>
          <pc:sldMk cId="437598695" sldId="1218"/>
        </pc:sldMkLst>
      </pc:sldChg>
      <pc:sldChg chg="new del">
        <pc:chgData name="Feri Carnu" userId="dca46e56149d37a2" providerId="LiveId" clId="{64F12FFF-093A-464E-8A18-9473212A9E49}" dt="2023-05-21T21:02:48.449" v="2319" actId="47"/>
        <pc:sldMkLst>
          <pc:docMk/>
          <pc:sldMk cId="1150906641" sldId="1218"/>
        </pc:sldMkLst>
      </pc:sldChg>
      <pc:sldChg chg="new del">
        <pc:chgData name="Feri Carnu" userId="dca46e56149d37a2" providerId="LiveId" clId="{64F12FFF-093A-464E-8A18-9473212A9E49}" dt="2023-05-21T21:02:58.259" v="2321" actId="680"/>
        <pc:sldMkLst>
          <pc:docMk/>
          <pc:sldMk cId="1550605403" sldId="1218"/>
        </pc:sldMkLst>
      </pc:sldChg>
      <pc:sldChg chg="addSp delSp modSp add del mod modTransition delAnim modAnim">
        <pc:chgData name="Feri Carnu" userId="dca46e56149d37a2" providerId="LiveId" clId="{64F12FFF-093A-464E-8A18-9473212A9E49}" dt="2023-06-07T12:54:05.844" v="3245"/>
        <pc:sldMkLst>
          <pc:docMk/>
          <pc:sldMk cId="1911023253" sldId="1218"/>
        </pc:sldMkLst>
        <pc:spChg chg="mod">
          <ac:chgData name="Feri Carnu" userId="dca46e56149d37a2" providerId="LiveId" clId="{64F12FFF-093A-464E-8A18-9473212A9E49}" dt="2023-05-21T21:56:29.870" v="2418" actId="20577"/>
          <ac:spMkLst>
            <pc:docMk/>
            <pc:sldMk cId="1911023253" sldId="1218"/>
            <ac:spMk id="2" creationId="{55182A55-E76E-A111-EDA3-520F17CC7710}"/>
          </ac:spMkLst>
        </pc:spChg>
        <pc:spChg chg="mod">
          <ac:chgData name="Feri Carnu" userId="dca46e56149d37a2" providerId="LiveId" clId="{64F12FFF-093A-464E-8A18-9473212A9E49}" dt="2023-06-06T10:51:43.448" v="3146" actId="14100"/>
          <ac:spMkLst>
            <pc:docMk/>
            <pc:sldMk cId="1911023253" sldId="1218"/>
            <ac:spMk id="3" creationId="{9C7267CC-9212-9D88-6676-CF50C337C64B}"/>
          </ac:spMkLst>
        </pc:spChg>
        <pc:spChg chg="add del mod">
          <ac:chgData name="Feri Carnu" userId="dca46e56149d37a2" providerId="LiveId" clId="{64F12FFF-093A-464E-8A18-9473212A9E49}" dt="2023-05-21T22:34:03.681" v="2642"/>
          <ac:spMkLst>
            <pc:docMk/>
            <pc:sldMk cId="1911023253" sldId="1218"/>
            <ac:spMk id="8" creationId="{EAEE4202-B20D-4EBD-36B3-F5E51B4370F9}"/>
          </ac:spMkLst>
        </pc:spChg>
        <pc:picChg chg="add del mod">
          <ac:chgData name="Feri Carnu" userId="dca46e56149d37a2" providerId="LiveId" clId="{64F12FFF-093A-464E-8A18-9473212A9E49}" dt="2023-05-21T22:22:08.777" v="2640" actId="478"/>
          <ac:picMkLst>
            <pc:docMk/>
            <pc:sldMk cId="1911023253" sldId="1218"/>
            <ac:picMk id="5" creationId="{7B1B9B05-50E1-2C4E-9D04-DCDD10FF7CFB}"/>
          </ac:picMkLst>
        </pc:picChg>
        <pc:picChg chg="add mod modCrop">
          <ac:chgData name="Feri Carnu" userId="dca46e56149d37a2" providerId="LiveId" clId="{64F12FFF-093A-464E-8A18-9473212A9E49}" dt="2023-05-21T22:35:50.682" v="2664" actId="732"/>
          <ac:picMkLst>
            <pc:docMk/>
            <pc:sldMk cId="1911023253" sldId="1218"/>
            <ac:picMk id="9" creationId="{DEE5A6AE-F989-9DCA-55DE-00F0BF844383}"/>
          </ac:picMkLst>
        </pc:picChg>
        <pc:picChg chg="add del mod ord">
          <ac:chgData name="Feri Carnu" userId="dca46e56149d37a2" providerId="LiveId" clId="{64F12FFF-093A-464E-8A18-9473212A9E49}" dt="2023-05-21T22:34:52.266" v="2654" actId="478"/>
          <ac:picMkLst>
            <pc:docMk/>
            <pc:sldMk cId="1911023253" sldId="1218"/>
            <ac:picMk id="10" creationId="{4ACA25E7-FACB-48A6-36EA-14C50D18E8F7}"/>
          </ac:picMkLst>
        </pc:picChg>
        <pc:picChg chg="add del mod">
          <ac:chgData name="Feri Carnu" userId="dca46e56149d37a2" providerId="LiveId" clId="{64F12FFF-093A-464E-8A18-9473212A9E49}" dt="2023-05-21T23:02:37.215" v="2669" actId="21"/>
          <ac:picMkLst>
            <pc:docMk/>
            <pc:sldMk cId="1911023253" sldId="1218"/>
            <ac:picMk id="11" creationId="{E74691D2-8C08-EFBB-A0ED-5451CF9FC366}"/>
          </ac:picMkLst>
        </pc:picChg>
        <pc:picChg chg="del">
          <ac:chgData name="Feri Carnu" userId="dca46e56149d37a2" providerId="LiveId" clId="{64F12FFF-093A-464E-8A18-9473212A9E49}" dt="2023-05-21T22:22:09.555" v="2641" actId="478"/>
          <ac:picMkLst>
            <pc:docMk/>
            <pc:sldMk cId="1911023253" sldId="1218"/>
            <ac:picMk id="12" creationId="{D5192E49-435D-FA47-CEE2-B8CEB4198329}"/>
          </ac:picMkLst>
        </pc:picChg>
      </pc:sldChg>
      <pc:sldChg chg="new del">
        <pc:chgData name="Feri Carnu" userId="dca46e56149d37a2" providerId="LiveId" clId="{64F12FFF-093A-464E-8A18-9473212A9E49}" dt="2023-05-22T07:29:56.599" v="2824" actId="47"/>
        <pc:sldMkLst>
          <pc:docMk/>
          <pc:sldMk cId="108734972" sldId="1219"/>
        </pc:sldMkLst>
      </pc:sldChg>
      <pc:sldChg chg="addSp delSp modSp new mod modTransition">
        <pc:chgData name="Feri Carnu" userId="dca46e56149d37a2" providerId="LiveId" clId="{64F12FFF-093A-464E-8A18-9473212A9E49}" dt="2023-06-07T12:54:07.601" v="3246"/>
        <pc:sldMkLst>
          <pc:docMk/>
          <pc:sldMk cId="915022865" sldId="1219"/>
        </pc:sldMkLst>
        <pc:spChg chg="del">
          <ac:chgData name="Feri Carnu" userId="dca46e56149d37a2" providerId="LiveId" clId="{64F12FFF-093A-464E-8A18-9473212A9E49}" dt="2023-06-06T10:16:58.966" v="3076" actId="478"/>
          <ac:spMkLst>
            <pc:docMk/>
            <pc:sldMk cId="915022865" sldId="1219"/>
            <ac:spMk id="2" creationId="{A1CC9203-E945-FA8F-2FB5-333C8DE72ACC}"/>
          </ac:spMkLst>
        </pc:spChg>
        <pc:spChg chg="add mod">
          <ac:chgData name="Feri Carnu" userId="dca46e56149d37a2" providerId="LiveId" clId="{64F12FFF-093A-464E-8A18-9473212A9E49}" dt="2023-06-07T12:51:55.515" v="3240" actId="404"/>
          <ac:spMkLst>
            <pc:docMk/>
            <pc:sldMk cId="915022865" sldId="1219"/>
            <ac:spMk id="2" creationId="{A8407F61-00EA-BE49-D9FB-BCCB1DB05C66}"/>
          </ac:spMkLst>
        </pc:spChg>
        <pc:spChg chg="add del mod ord">
          <ac:chgData name="Feri Carnu" userId="dca46e56149d37a2" providerId="LiveId" clId="{64F12FFF-093A-464E-8A18-9473212A9E49}" dt="2023-06-07T12:49:08.966" v="3198" actId="478"/>
          <ac:spMkLst>
            <pc:docMk/>
            <pc:sldMk cId="915022865" sldId="1219"/>
            <ac:spMk id="3" creationId="{2518AFA3-BAF0-0AE7-6652-FFCDE2516955}"/>
          </ac:spMkLst>
        </pc:spChg>
        <pc:spChg chg="del">
          <ac:chgData name="Feri Carnu" userId="dca46e56149d37a2" providerId="LiveId" clId="{64F12FFF-093A-464E-8A18-9473212A9E49}" dt="2023-06-06T10:16:58.966" v="3076" actId="478"/>
          <ac:spMkLst>
            <pc:docMk/>
            <pc:sldMk cId="915022865" sldId="1219"/>
            <ac:spMk id="3" creationId="{99D14826-1DEF-C031-0066-E50323723476}"/>
          </ac:spMkLst>
        </pc:spChg>
        <pc:spChg chg="add del mod">
          <ac:chgData name="Feri Carnu" userId="dca46e56149d37a2" providerId="LiveId" clId="{64F12FFF-093A-464E-8A18-9473212A9E49}" dt="2023-06-07T12:48:31.392" v="3188" actId="478"/>
          <ac:spMkLst>
            <pc:docMk/>
            <pc:sldMk cId="915022865" sldId="1219"/>
            <ac:spMk id="4" creationId="{9C44A460-3E99-6440-E3B5-53AD386F8173}"/>
          </ac:spMkLst>
        </pc:spChg>
        <pc:spChg chg="del">
          <ac:chgData name="Feri Carnu" userId="dca46e56149d37a2" providerId="LiveId" clId="{64F12FFF-093A-464E-8A18-9473212A9E49}" dt="2023-06-06T10:16:58.966" v="3076" actId="478"/>
          <ac:spMkLst>
            <pc:docMk/>
            <pc:sldMk cId="915022865" sldId="1219"/>
            <ac:spMk id="4" creationId="{A3D2D419-E99A-527A-381A-60984DE1A9B8}"/>
          </ac:spMkLst>
        </pc:spChg>
        <pc:spChg chg="add del mod">
          <ac:chgData name="Feri Carnu" userId="dca46e56149d37a2" providerId="LiveId" clId="{64F12FFF-093A-464E-8A18-9473212A9E49}" dt="2023-06-07T12:49:09.718" v="3199" actId="478"/>
          <ac:spMkLst>
            <pc:docMk/>
            <pc:sldMk cId="915022865" sldId="1219"/>
            <ac:spMk id="5" creationId="{5B539380-B79A-449D-4FA3-63AF576BFB88}"/>
          </ac:spMkLst>
        </pc:spChg>
        <pc:spChg chg="del">
          <ac:chgData name="Feri Carnu" userId="dca46e56149d37a2" providerId="LiveId" clId="{64F12FFF-093A-464E-8A18-9473212A9E49}" dt="2023-06-06T10:16:58.966" v="3076" actId="478"/>
          <ac:spMkLst>
            <pc:docMk/>
            <pc:sldMk cId="915022865" sldId="1219"/>
            <ac:spMk id="5" creationId="{8726AE99-0AB1-BBBB-50D0-670A945E2B1B}"/>
          </ac:spMkLst>
        </pc:spChg>
        <pc:spChg chg="mod ord">
          <ac:chgData name="Feri Carnu" userId="dca46e56149d37a2" providerId="LiveId" clId="{64F12FFF-093A-464E-8A18-9473212A9E49}" dt="2023-06-06T10:18:58.984" v="3097" actId="1076"/>
          <ac:spMkLst>
            <pc:docMk/>
            <pc:sldMk cId="915022865" sldId="1219"/>
            <ac:spMk id="6" creationId="{7683350F-988B-CB4D-B4AB-9FF7B7712603}"/>
          </ac:spMkLst>
        </pc:spChg>
        <pc:spChg chg="add mod">
          <ac:chgData name="Feri Carnu" userId="dca46e56149d37a2" providerId="LiveId" clId="{64F12FFF-093A-464E-8A18-9473212A9E49}" dt="2023-06-06T10:17:34.147" v="3094"/>
          <ac:spMkLst>
            <pc:docMk/>
            <pc:sldMk cId="915022865" sldId="1219"/>
            <ac:spMk id="7" creationId="{E7AFFF44-677E-4EBE-3641-CD807A274003}"/>
          </ac:spMkLst>
        </pc:spChg>
        <pc:spChg chg="add mod">
          <ac:chgData name="Feri Carnu" userId="dca46e56149d37a2" providerId="LiveId" clId="{64F12FFF-093A-464E-8A18-9473212A9E49}" dt="2023-06-06T10:17:33.584" v="3093"/>
          <ac:spMkLst>
            <pc:docMk/>
            <pc:sldMk cId="915022865" sldId="1219"/>
            <ac:spMk id="8" creationId="{4C3C7EFD-7506-1DFC-C42D-97ADCA6C90EE}"/>
          </ac:spMkLst>
        </pc:spChg>
        <pc:spChg chg="add mod">
          <ac:chgData name="Feri Carnu" userId="dca46e56149d37a2" providerId="LiveId" clId="{64F12FFF-093A-464E-8A18-9473212A9E49}" dt="2023-06-06T10:17:33.081" v="3092"/>
          <ac:spMkLst>
            <pc:docMk/>
            <pc:sldMk cId="915022865" sldId="1219"/>
            <ac:spMk id="9" creationId="{913E7EA3-1CF7-4AFD-31ED-0841706B4F0B}"/>
          </ac:spMkLst>
        </pc:spChg>
        <pc:spChg chg="add mod">
          <ac:chgData name="Feri Carnu" userId="dca46e56149d37a2" providerId="LiveId" clId="{64F12FFF-093A-464E-8A18-9473212A9E49}" dt="2023-06-06T10:17:32.452" v="3091"/>
          <ac:spMkLst>
            <pc:docMk/>
            <pc:sldMk cId="915022865" sldId="1219"/>
            <ac:spMk id="10" creationId="{BCF9667A-1D45-4B8B-4065-098681DE907E}"/>
          </ac:spMkLst>
        </pc:spChg>
        <pc:spChg chg="add del mod">
          <ac:chgData name="Feri Carnu" userId="dca46e56149d37a2" providerId="LiveId" clId="{64F12FFF-093A-464E-8A18-9473212A9E49}" dt="2023-06-07T12:47:30.824" v="3179" actId="478"/>
          <ac:spMkLst>
            <pc:docMk/>
            <pc:sldMk cId="915022865" sldId="1219"/>
            <ac:spMk id="11" creationId="{E31AD63D-B1EF-0C93-62F1-951D753F8165}"/>
          </ac:spMkLst>
        </pc:spChg>
        <pc:spChg chg="add del mod">
          <ac:chgData name="Feri Carnu" userId="dca46e56149d37a2" providerId="LiveId" clId="{64F12FFF-093A-464E-8A18-9473212A9E49}" dt="2023-06-06T10:20:51.552" v="3125"/>
          <ac:spMkLst>
            <pc:docMk/>
            <pc:sldMk cId="915022865" sldId="1219"/>
            <ac:spMk id="12" creationId="{59B499B6-53FE-78A4-9E5E-A2C28F107053}"/>
          </ac:spMkLst>
        </pc:spChg>
        <pc:spChg chg="add mod">
          <ac:chgData name="Feri Carnu" userId="dca46e56149d37a2" providerId="LiveId" clId="{64F12FFF-093A-464E-8A18-9473212A9E49}" dt="2023-06-07T12:49:02.546" v="3194"/>
          <ac:spMkLst>
            <pc:docMk/>
            <pc:sldMk cId="915022865" sldId="1219"/>
            <ac:spMk id="12" creationId="{BE89B7E5-53CF-498B-5BF4-02FF0E17EFB5}"/>
          </ac:spMkLst>
        </pc:spChg>
        <pc:spChg chg="add del mod">
          <ac:chgData name="Feri Carnu" userId="dca46e56149d37a2" providerId="LiveId" clId="{64F12FFF-093A-464E-8A18-9473212A9E49}" dt="2023-06-06T10:20:51.552" v="3125"/>
          <ac:spMkLst>
            <pc:docMk/>
            <pc:sldMk cId="915022865" sldId="1219"/>
            <ac:spMk id="13" creationId="{325355A9-92DC-C367-152F-7B5C0A1979AE}"/>
          </ac:spMkLst>
        </pc:spChg>
        <pc:spChg chg="add mod">
          <ac:chgData name="Feri Carnu" userId="dca46e56149d37a2" providerId="LiveId" clId="{64F12FFF-093A-464E-8A18-9473212A9E49}" dt="2023-06-07T12:52:37.554" v="3242" actId="3062"/>
          <ac:spMkLst>
            <pc:docMk/>
            <pc:sldMk cId="915022865" sldId="1219"/>
            <ac:spMk id="13" creationId="{48E6C209-CB55-9F5E-50AA-7B5601F2BB46}"/>
          </ac:spMkLst>
        </pc:spChg>
        <pc:spChg chg="add del mod">
          <ac:chgData name="Feri Carnu" userId="dca46e56149d37a2" providerId="LiveId" clId="{64F12FFF-093A-464E-8A18-9473212A9E49}" dt="2023-06-06T10:20:51.552" v="3125"/>
          <ac:spMkLst>
            <pc:docMk/>
            <pc:sldMk cId="915022865" sldId="1219"/>
            <ac:spMk id="14" creationId="{04EABD4D-AF41-2E13-7731-E49E370663BA}"/>
          </ac:spMkLst>
        </pc:spChg>
        <pc:spChg chg="add del mod">
          <ac:chgData name="Feri Carnu" userId="dca46e56149d37a2" providerId="LiveId" clId="{64F12FFF-093A-464E-8A18-9473212A9E49}" dt="2023-06-06T10:20:51.552" v="3125"/>
          <ac:spMkLst>
            <pc:docMk/>
            <pc:sldMk cId="915022865" sldId="1219"/>
            <ac:spMk id="15" creationId="{A12F2347-FE26-7ABE-D949-B90920152FA7}"/>
          </ac:spMkLst>
        </pc:spChg>
        <pc:spChg chg="add del mod">
          <ac:chgData name="Feri Carnu" userId="dca46e56149d37a2" providerId="LiveId" clId="{64F12FFF-093A-464E-8A18-9473212A9E49}" dt="2023-06-06T10:21:10.743" v="3141" actId="478"/>
          <ac:spMkLst>
            <pc:docMk/>
            <pc:sldMk cId="915022865" sldId="1219"/>
            <ac:spMk id="16" creationId="{F4E0A8EC-3B8E-8D91-4316-63A50A7FF10F}"/>
          </ac:spMkLst>
        </pc:spChg>
      </pc:sldChg>
      <pc:sldChg chg="del">
        <pc:chgData name="Feri Carnu" userId="dca46e56149d37a2" providerId="LiveId" clId="{64F12FFF-093A-464E-8A18-9473212A9E49}" dt="2023-05-19T19:18:49.420" v="386" actId="47"/>
        <pc:sldMkLst>
          <pc:docMk/>
          <pc:sldMk cId="3596689924" sldId="1219"/>
        </pc:sldMkLst>
      </pc:sldChg>
      <pc:sldChg chg="add del">
        <pc:chgData name="Feri Carnu" userId="dca46e56149d37a2" providerId="LiveId" clId="{64F12FFF-093A-464E-8A18-9473212A9E49}" dt="2023-06-06T10:17:26.683" v="3087"/>
        <pc:sldMkLst>
          <pc:docMk/>
          <pc:sldMk cId="1035799575" sldId="1220"/>
        </pc:sldMkLst>
      </pc:sldChg>
      <pc:sldChg chg="del">
        <pc:chgData name="Feri Carnu" userId="dca46e56149d37a2" providerId="LiveId" clId="{64F12FFF-093A-464E-8A18-9473212A9E49}" dt="2023-05-19T19:18:49.514" v="388" actId="47"/>
        <pc:sldMkLst>
          <pc:docMk/>
          <pc:sldMk cId="3583441579" sldId="1220"/>
        </pc:sldMkLst>
      </pc:sldChg>
      <pc:sldChg chg="del">
        <pc:chgData name="Feri Carnu" userId="dca46e56149d37a2" providerId="LiveId" clId="{64F12FFF-093A-464E-8A18-9473212A9E49}" dt="2023-05-19T19:18:49.547" v="389" actId="47"/>
        <pc:sldMkLst>
          <pc:docMk/>
          <pc:sldMk cId="3606376546" sldId="1221"/>
        </pc:sldMkLst>
      </pc:sldChg>
      <pc:sldChg chg="del">
        <pc:chgData name="Feri Carnu" userId="dca46e56149d37a2" providerId="LiveId" clId="{64F12FFF-093A-464E-8A18-9473212A9E49}" dt="2023-05-19T19:18:49.624" v="391" actId="47"/>
        <pc:sldMkLst>
          <pc:docMk/>
          <pc:sldMk cId="2210034582" sldId="1222"/>
        </pc:sldMkLst>
      </pc:sldChg>
      <pc:sldChg chg="del">
        <pc:chgData name="Feri Carnu" userId="dca46e56149d37a2" providerId="LiveId" clId="{64F12FFF-093A-464E-8A18-9473212A9E49}" dt="2023-05-19T19:18:49.672" v="392" actId="47"/>
        <pc:sldMkLst>
          <pc:docMk/>
          <pc:sldMk cId="3793697429" sldId="1223"/>
        </pc:sldMkLst>
      </pc:sldChg>
      <pc:sldChg chg="del">
        <pc:chgData name="Feri Carnu" userId="dca46e56149d37a2" providerId="LiveId" clId="{64F12FFF-093A-464E-8A18-9473212A9E49}" dt="2023-05-19T19:18:49.747" v="394" actId="47"/>
        <pc:sldMkLst>
          <pc:docMk/>
          <pc:sldMk cId="506873757" sldId="1224"/>
        </pc:sldMkLst>
      </pc:sldChg>
      <pc:sldChg chg="del">
        <pc:chgData name="Feri Carnu" userId="dca46e56149d37a2" providerId="LiveId" clId="{64F12FFF-093A-464E-8A18-9473212A9E49}" dt="2023-05-19T19:18:49.781" v="395" actId="47"/>
        <pc:sldMkLst>
          <pc:docMk/>
          <pc:sldMk cId="3303167001" sldId="1225"/>
        </pc:sldMkLst>
      </pc:sldChg>
      <pc:sldChg chg="del">
        <pc:chgData name="Feri Carnu" userId="dca46e56149d37a2" providerId="LiveId" clId="{64F12FFF-093A-464E-8A18-9473212A9E49}" dt="2023-05-19T19:18:49.860" v="397" actId="47"/>
        <pc:sldMkLst>
          <pc:docMk/>
          <pc:sldMk cId="3729370301" sldId="1226"/>
        </pc:sldMkLst>
      </pc:sldChg>
      <pc:sldChg chg="del">
        <pc:chgData name="Feri Carnu" userId="dca46e56149d37a2" providerId="LiveId" clId="{64F12FFF-093A-464E-8A18-9473212A9E49}" dt="2023-05-19T19:18:49.891" v="398" actId="47"/>
        <pc:sldMkLst>
          <pc:docMk/>
          <pc:sldMk cId="1427142428" sldId="1227"/>
        </pc:sldMkLst>
      </pc:sldChg>
      <pc:sldChg chg="del">
        <pc:chgData name="Feri Carnu" userId="dca46e56149d37a2" providerId="LiveId" clId="{64F12FFF-093A-464E-8A18-9473212A9E49}" dt="2023-05-19T19:18:49.970" v="400" actId="47"/>
        <pc:sldMkLst>
          <pc:docMk/>
          <pc:sldMk cId="1890738641" sldId="1228"/>
        </pc:sldMkLst>
      </pc:sldChg>
      <pc:sldChg chg="del">
        <pc:chgData name="Feri Carnu" userId="dca46e56149d37a2" providerId="LiveId" clId="{64F12FFF-093A-464E-8A18-9473212A9E49}" dt="2023-05-19T19:18:50.017" v="401" actId="47"/>
        <pc:sldMkLst>
          <pc:docMk/>
          <pc:sldMk cId="3787277197" sldId="1229"/>
        </pc:sldMkLst>
      </pc:sldChg>
      <pc:sldChg chg="del">
        <pc:chgData name="Feri Carnu" userId="dca46e56149d37a2" providerId="LiveId" clId="{64F12FFF-093A-464E-8A18-9473212A9E49}" dt="2023-05-19T19:18:50.095" v="403" actId="47"/>
        <pc:sldMkLst>
          <pc:docMk/>
          <pc:sldMk cId="4108710468" sldId="1230"/>
        </pc:sldMkLst>
      </pc:sldChg>
      <pc:sldChg chg="del">
        <pc:chgData name="Feri Carnu" userId="dca46e56149d37a2" providerId="LiveId" clId="{64F12FFF-093A-464E-8A18-9473212A9E49}" dt="2023-05-19T19:18:50.126" v="404" actId="47"/>
        <pc:sldMkLst>
          <pc:docMk/>
          <pc:sldMk cId="737531126" sldId="1231"/>
        </pc:sldMkLst>
      </pc:sldChg>
      <pc:sldChg chg="del">
        <pc:chgData name="Feri Carnu" userId="dca46e56149d37a2" providerId="LiveId" clId="{64F12FFF-093A-464E-8A18-9473212A9E49}" dt="2023-05-19T19:18:50.205" v="406" actId="47"/>
        <pc:sldMkLst>
          <pc:docMk/>
          <pc:sldMk cId="762513265" sldId="1232"/>
        </pc:sldMkLst>
      </pc:sldChg>
      <pc:sldChg chg="del">
        <pc:chgData name="Feri Carnu" userId="dca46e56149d37a2" providerId="LiveId" clId="{64F12FFF-093A-464E-8A18-9473212A9E49}" dt="2023-05-19T19:18:50.236" v="407" actId="47"/>
        <pc:sldMkLst>
          <pc:docMk/>
          <pc:sldMk cId="3324400939" sldId="1233"/>
        </pc:sldMkLst>
      </pc:sldChg>
      <pc:sldChg chg="add del">
        <pc:chgData name="Feri Carnu" userId="dca46e56149d37a2" providerId="LiveId" clId="{64F12FFF-093A-464E-8A18-9473212A9E49}" dt="2023-05-19T19:18:44.198" v="366" actId="47"/>
        <pc:sldMkLst>
          <pc:docMk/>
          <pc:sldMk cId="4142742773" sldId="1234"/>
        </pc:sldMkLst>
      </pc:sldChg>
      <pc:sldMasterChg chg="modTransition modSldLayout">
        <pc:chgData name="Feri Carnu" userId="dca46e56149d37a2" providerId="LiveId" clId="{64F12FFF-093A-464E-8A18-9473212A9E49}" dt="2023-06-07T12:54:05.844" v="3245"/>
        <pc:sldMasterMkLst>
          <pc:docMk/>
          <pc:sldMasterMk cId="1698585145" sldId="2147483648"/>
        </pc:sldMasterMkLst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842942607" sldId="2147483650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08848882" sldId="2147483652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943002918" sldId="2147483655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907654598" sldId="2147483665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951439580" sldId="2147483666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009199822" sldId="2147483677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100799088" sldId="2147483678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263419937" sldId="2147483681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316416684" sldId="2147483682"/>
          </pc:sldLayoutMkLst>
        </pc:sldLayoutChg>
        <pc:sldLayoutChg chg="modSp 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60158245" sldId="2147483687"/>
          </pc:sldLayoutMkLst>
          <pc:spChg chg="mod">
            <ac:chgData name="Feri Carnu" userId="dca46e56149d37a2" providerId="LiveId" clId="{64F12FFF-093A-464E-8A18-9473212A9E49}" dt="2023-05-21T21:02:36.457" v="2317" actId="207"/>
            <ac:spMkLst>
              <pc:docMk/>
              <pc:sldMasterMk cId="1698585145" sldId="2147483648"/>
              <pc:sldLayoutMk cId="460158245" sldId="2147483687"/>
              <ac:spMk id="5" creationId="{9F2A455C-53B1-4792-8EA9-F00926C48E39}"/>
            </ac:spMkLst>
          </pc:spChg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460512140" sldId="2147483690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004534516" sldId="2147483691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106083221" sldId="2147483692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912428891" sldId="2147483694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48910675" sldId="2147483697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503860774" sldId="2147483698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014279886" sldId="2147483709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71878887" sldId="2147483711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026250594" sldId="2147483717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273117948" sldId="2147483719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024961563" sldId="2147483720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099078185" sldId="2147483724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218475109" sldId="2147483725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999428441" sldId="2147483726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912665376" sldId="2147483727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84892092" sldId="2147483728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190604795" sldId="2147483729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09423603" sldId="2147483730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530377729" sldId="2147483731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852824290" sldId="2147483732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042990506" sldId="2147483736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294859123" sldId="2147483737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16322106" sldId="2147483738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455111089" sldId="2147483739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3943902260" sldId="2147483740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3868036727" sldId="2147483741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643747429" sldId="2147483744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3983154652" sldId="2147483753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3867043553" sldId="2147483754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971383144" sldId="2147483755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555363590" sldId="2147483756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666566646" sldId="2147483770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804166619" sldId="2147483771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35824049" sldId="2147483772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11602331" sldId="2147483773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3713285463" sldId="2147483774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3502166443" sldId="2147483775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246279245" sldId="2147483776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15136419" sldId="2147483777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920874352" sldId="2147483778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3829007306" sldId="2147483779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753819094" sldId="2147483780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22370908" sldId="2147483781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093362920" sldId="2147483782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3477977126" sldId="2147483783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67889764" sldId="2147483784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908786942" sldId="2147483785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3280640839" sldId="2147483786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76341727" sldId="2147483787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191606336" sldId="2147483788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945772994" sldId="2147483789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3322078476" sldId="2147483790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496026918" sldId="2147483791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223687708" sldId="2147483792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1291605785" sldId="2147483793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4153978505" sldId="2147483794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3361385439" sldId="2147483795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2662922371" sldId="2147483796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3792413708" sldId="2147483797"/>
          </pc:sldLayoutMkLst>
        </pc:sldLayoutChg>
        <pc:sldLayoutChg chg="modTransition">
          <pc:chgData name="Feri Carnu" userId="dca46e56149d37a2" providerId="LiveId" clId="{64F12FFF-093A-464E-8A18-9473212A9E49}" dt="2023-06-07T12:54:05.844" v="3245"/>
          <pc:sldLayoutMkLst>
            <pc:docMk/>
            <pc:sldMasterMk cId="1698585145" sldId="2147483648"/>
            <pc:sldLayoutMk cId="3874017695" sldId="2147483798"/>
          </pc:sldLayoutMkLst>
        </pc:sldLayoutChg>
      </pc:sldMasterChg>
    </pc:docChg>
  </pc:docChgLst>
  <pc:docChgLst>
    <pc:chgData name="George Patrasc" userId="1473b47d5cd04395" providerId="Windows Live" clId="Web-{58B379CB-815D-4121-9B1C-6CE5F1E78026}"/>
    <pc:docChg chg="addSld delSld modSld">
      <pc:chgData name="George Patrasc" userId="1473b47d5cd04395" providerId="Windows Live" clId="Web-{58B379CB-815D-4121-9B1C-6CE5F1E78026}" dt="2023-09-12T14:35:08.297" v="362" actId="1076"/>
      <pc:docMkLst>
        <pc:docMk/>
      </pc:docMkLst>
      <pc:sldChg chg="addSp delSp modSp">
        <pc:chgData name="George Patrasc" userId="1473b47d5cd04395" providerId="Windows Live" clId="Web-{58B379CB-815D-4121-9B1C-6CE5F1E78026}" dt="2023-09-12T13:31:01.197" v="283" actId="1076"/>
        <pc:sldMkLst>
          <pc:docMk/>
          <pc:sldMk cId="357168791" sldId="300"/>
        </pc:sldMkLst>
        <pc:spChg chg="add del">
          <ac:chgData name="George Patrasc" userId="1473b47d5cd04395" providerId="Windows Live" clId="Web-{58B379CB-815D-4121-9B1C-6CE5F1E78026}" dt="2023-09-12T08:25:09.227" v="7"/>
          <ac:spMkLst>
            <pc:docMk/>
            <pc:sldMk cId="357168791" sldId="300"/>
            <ac:spMk id="3" creationId="{38F69A13-F0BC-80B1-0B19-F64607A5FD2D}"/>
          </ac:spMkLst>
        </pc:spChg>
        <pc:spChg chg="add del mod">
          <ac:chgData name="George Patrasc" userId="1473b47d5cd04395" providerId="Windows Live" clId="Web-{58B379CB-815D-4121-9B1C-6CE5F1E78026}" dt="2023-09-12T13:31:01.197" v="283" actId="1076"/>
          <ac:spMkLst>
            <pc:docMk/>
            <pc:sldMk cId="357168791" sldId="300"/>
            <ac:spMk id="4" creationId="{3F64DA5D-1FEF-45CF-8F11-1E9BC92BD6CA}"/>
          </ac:spMkLst>
        </pc:spChg>
        <pc:spChg chg="add del">
          <ac:chgData name="George Patrasc" userId="1473b47d5cd04395" providerId="Windows Live" clId="Web-{58B379CB-815D-4121-9B1C-6CE5F1E78026}" dt="2023-09-12T08:25:26.368" v="9"/>
          <ac:spMkLst>
            <pc:docMk/>
            <pc:sldMk cId="357168791" sldId="300"/>
            <ac:spMk id="9" creationId="{52B45092-C1BE-A4B9-AA59-317511EA7142}"/>
          </ac:spMkLst>
        </pc:spChg>
        <pc:spChg chg="add del">
          <ac:chgData name="George Patrasc" userId="1473b47d5cd04395" providerId="Windows Live" clId="Web-{58B379CB-815D-4121-9B1C-6CE5F1E78026}" dt="2023-09-12T08:25:40.885" v="11"/>
          <ac:spMkLst>
            <pc:docMk/>
            <pc:sldMk cId="357168791" sldId="300"/>
            <ac:spMk id="11" creationId="{80D10024-B03B-7BD6-51AC-399A4DB81632}"/>
          </ac:spMkLst>
        </pc:spChg>
        <pc:picChg chg="add del mod">
          <ac:chgData name="George Patrasc" userId="1473b47d5cd04395" providerId="Windows Live" clId="Web-{58B379CB-815D-4121-9B1C-6CE5F1E78026}" dt="2023-09-12T10:07:41.527" v="65"/>
          <ac:picMkLst>
            <pc:docMk/>
            <pc:sldMk cId="357168791" sldId="300"/>
            <ac:picMk id="2" creationId="{BF3AF318-5198-EAE4-A3A9-FB896EF31338}"/>
          </ac:picMkLst>
        </pc:picChg>
      </pc:sldChg>
      <pc:sldChg chg="addSp delSp modSp">
        <pc:chgData name="George Patrasc" userId="1473b47d5cd04395" providerId="Windows Live" clId="Web-{58B379CB-815D-4121-9B1C-6CE5F1E78026}" dt="2023-09-12T13:27:12.737" v="243" actId="20577"/>
        <pc:sldMkLst>
          <pc:docMk/>
          <pc:sldMk cId="41984877" sldId="343"/>
        </pc:sldMkLst>
        <pc:spChg chg="mod">
          <ac:chgData name="George Patrasc" userId="1473b47d5cd04395" providerId="Windows Live" clId="Web-{58B379CB-815D-4121-9B1C-6CE5F1E78026}" dt="2023-09-12T13:27:12.737" v="243" actId="20577"/>
          <ac:spMkLst>
            <pc:docMk/>
            <pc:sldMk cId="41984877" sldId="343"/>
            <ac:spMk id="3" creationId="{38D101C9-5442-4E35-9BFD-3591529F0F77}"/>
          </ac:spMkLst>
        </pc:spChg>
        <pc:picChg chg="add del mod">
          <ac:chgData name="George Patrasc" userId="1473b47d5cd04395" providerId="Windows Live" clId="Web-{58B379CB-815D-4121-9B1C-6CE5F1E78026}" dt="2023-09-12T08:59:44.917" v="36"/>
          <ac:picMkLst>
            <pc:docMk/>
            <pc:sldMk cId="41984877" sldId="343"/>
            <ac:picMk id="4" creationId="{3B9461DC-6937-A300-2E75-1AC56D7EDDB9}"/>
          </ac:picMkLst>
        </pc:picChg>
        <pc:picChg chg="add mod modCrop">
          <ac:chgData name="George Patrasc" userId="1473b47d5cd04395" providerId="Windows Live" clId="Web-{58B379CB-815D-4121-9B1C-6CE5F1E78026}" dt="2023-09-12T09:40:43.748" v="56" actId="14100"/>
          <ac:picMkLst>
            <pc:docMk/>
            <pc:sldMk cId="41984877" sldId="343"/>
            <ac:picMk id="4" creationId="{C9908884-5DA7-E62B-8411-1ED6C20D3C22}"/>
          </ac:picMkLst>
        </pc:picChg>
        <pc:picChg chg="add del mod">
          <ac:chgData name="George Patrasc" userId="1473b47d5cd04395" providerId="Windows Live" clId="Web-{58B379CB-815D-4121-9B1C-6CE5F1E78026}" dt="2023-09-12T09:24:41.176" v="45"/>
          <ac:picMkLst>
            <pc:docMk/>
            <pc:sldMk cId="41984877" sldId="343"/>
            <ac:picMk id="5" creationId="{608DEC00-751B-30BD-75F5-935CCF2BC032}"/>
          </ac:picMkLst>
        </pc:picChg>
        <pc:inkChg chg="add">
          <ac:chgData name="George Patrasc" userId="1473b47d5cd04395" providerId="Windows Live" clId="Web-{58B379CB-815D-4121-9B1C-6CE5F1E78026}" dt="2023-09-12T08:52:50.292" v="26"/>
          <ac:inkMkLst>
            <pc:docMk/>
            <pc:sldMk cId="41984877" sldId="343"/>
            <ac:inkMk id="2" creationId="{4BB77150-26F0-FC59-DD60-1195ED67D96F}"/>
          </ac:inkMkLst>
        </pc:inkChg>
        <pc:inkChg chg="add del">
          <ac:chgData name="George Patrasc" userId="1473b47d5cd04395" providerId="Windows Live" clId="Web-{58B379CB-815D-4121-9B1C-6CE5F1E78026}" dt="2023-09-12T08:58:19.773" v="29"/>
          <ac:inkMkLst>
            <pc:docMk/>
            <pc:sldMk cId="41984877" sldId="343"/>
            <ac:inkMk id="5" creationId="{F8797CAC-6333-14C1-77B4-8632BF66F06D}"/>
          </ac:inkMkLst>
        </pc:inkChg>
      </pc:sldChg>
      <pc:sldChg chg="modSp">
        <pc:chgData name="George Patrasc" userId="1473b47d5cd04395" providerId="Windows Live" clId="Web-{58B379CB-815D-4121-9B1C-6CE5F1E78026}" dt="2023-09-12T13:26:45.220" v="241" actId="20577"/>
        <pc:sldMkLst>
          <pc:docMk/>
          <pc:sldMk cId="1053205732" sldId="1212"/>
        </pc:sldMkLst>
        <pc:spChg chg="mod">
          <ac:chgData name="George Patrasc" userId="1473b47d5cd04395" providerId="Windows Live" clId="Web-{58B379CB-815D-4121-9B1C-6CE5F1E78026}" dt="2023-09-12T13:26:45.220" v="241" actId="20577"/>
          <ac:spMkLst>
            <pc:docMk/>
            <pc:sldMk cId="1053205732" sldId="1212"/>
            <ac:spMk id="2" creationId="{8FDA17C2-CC0D-4A70-A1C4-4DAA44F64772}"/>
          </ac:spMkLst>
        </pc:spChg>
      </pc:sldChg>
      <pc:sldChg chg="modSp">
        <pc:chgData name="George Patrasc" userId="1473b47d5cd04395" providerId="Windows Live" clId="Web-{58B379CB-815D-4121-9B1C-6CE5F1E78026}" dt="2023-09-12T13:31:27.667" v="286" actId="1076"/>
        <pc:sldMkLst>
          <pc:docMk/>
          <pc:sldMk cId="1393103478" sldId="1213"/>
        </pc:sldMkLst>
        <pc:spChg chg="mod">
          <ac:chgData name="George Patrasc" userId="1473b47d5cd04395" providerId="Windows Live" clId="Web-{58B379CB-815D-4121-9B1C-6CE5F1E78026}" dt="2023-09-12T13:31:27.667" v="286" actId="1076"/>
          <ac:spMkLst>
            <pc:docMk/>
            <pc:sldMk cId="1393103478" sldId="1213"/>
            <ac:spMk id="3" creationId="{F7F0E916-FED0-77CF-E236-DE32D14999AC}"/>
          </ac:spMkLst>
        </pc:spChg>
        <pc:spChg chg="mod">
          <ac:chgData name="George Patrasc" userId="1473b47d5cd04395" providerId="Windows Live" clId="Web-{58B379CB-815D-4121-9B1C-6CE5F1E78026}" dt="2023-09-12T13:31:24.135" v="284" actId="1076"/>
          <ac:spMkLst>
            <pc:docMk/>
            <pc:sldMk cId="1393103478" sldId="1213"/>
            <ac:spMk id="6" creationId="{C9CEA9DE-AED4-A001-5E5D-7416BA6CAF40}"/>
          </ac:spMkLst>
        </pc:spChg>
      </pc:sldChg>
      <pc:sldChg chg="addSp delSp modSp add del">
        <pc:chgData name="George Patrasc" userId="1473b47d5cd04395" providerId="Windows Live" clId="Web-{58B379CB-815D-4121-9B1C-6CE5F1E78026}" dt="2023-09-12T13:31:50.324" v="290" actId="1076"/>
        <pc:sldMkLst>
          <pc:docMk/>
          <pc:sldMk cId="3194529969" sldId="1215"/>
        </pc:sldMkLst>
        <pc:spChg chg="add del">
          <ac:chgData name="George Patrasc" userId="1473b47d5cd04395" providerId="Windows Live" clId="Web-{58B379CB-815D-4121-9B1C-6CE5F1E78026}" dt="2023-09-12T08:40:49.654" v="21"/>
          <ac:spMkLst>
            <pc:docMk/>
            <pc:sldMk cId="3194529969" sldId="1215"/>
            <ac:spMk id="2" creationId="{208028E0-9AC0-AA2C-4FB8-48C823F1BE93}"/>
          </ac:spMkLst>
        </pc:spChg>
        <pc:spChg chg="mod">
          <ac:chgData name="George Patrasc" userId="1473b47d5cd04395" providerId="Windows Live" clId="Web-{58B379CB-815D-4121-9B1C-6CE5F1E78026}" dt="2023-09-12T13:31:50.324" v="290" actId="1076"/>
          <ac:spMkLst>
            <pc:docMk/>
            <pc:sldMk cId="3194529969" sldId="1215"/>
            <ac:spMk id="6" creationId="{1391E237-A00F-ACDC-A62C-702F93EA76E6}"/>
          </ac:spMkLst>
        </pc:spChg>
        <pc:inkChg chg="add del">
          <ac:chgData name="George Patrasc" userId="1473b47d5cd04395" providerId="Windows Live" clId="Web-{58B379CB-815D-4121-9B1C-6CE5F1E78026}" dt="2023-09-12T08:41:24.624" v="25"/>
          <ac:inkMkLst>
            <pc:docMk/>
            <pc:sldMk cId="3194529969" sldId="1215"/>
            <ac:inkMk id="3" creationId="{042A72DD-9C16-B4BD-8FD6-C7DB9E09D0C9}"/>
          </ac:inkMkLst>
        </pc:inkChg>
      </pc:sldChg>
      <pc:sldChg chg="addSp delSp modSp delAnim">
        <pc:chgData name="George Patrasc" userId="1473b47d5cd04395" providerId="Windows Live" clId="Web-{58B379CB-815D-4121-9B1C-6CE5F1E78026}" dt="2023-09-12T13:32:00.355" v="291" actId="1076"/>
        <pc:sldMkLst>
          <pc:docMk/>
          <pc:sldMk cId="171323570" sldId="1216"/>
        </pc:sldMkLst>
        <pc:spChg chg="add del mod">
          <ac:chgData name="George Patrasc" userId="1473b47d5cd04395" providerId="Windows Live" clId="Web-{58B379CB-815D-4121-9B1C-6CE5F1E78026}" dt="2023-09-12T12:24:51.130" v="69"/>
          <ac:spMkLst>
            <pc:docMk/>
            <pc:sldMk cId="171323570" sldId="1216"/>
            <ac:spMk id="5" creationId="{E9A7F414-010D-33AA-05B2-778FB54FC89C}"/>
          </ac:spMkLst>
        </pc:spChg>
        <pc:spChg chg="mod">
          <ac:chgData name="George Patrasc" userId="1473b47d5cd04395" providerId="Windows Live" clId="Web-{58B379CB-815D-4121-9B1C-6CE5F1E78026}" dt="2023-09-12T13:32:00.355" v="291" actId="1076"/>
          <ac:spMkLst>
            <pc:docMk/>
            <pc:sldMk cId="171323570" sldId="1216"/>
            <ac:spMk id="6" creationId="{A6AB7AC0-3C7C-E43B-FA7A-AD9BC2B425FC}"/>
          </ac:spMkLst>
        </pc:spChg>
        <pc:graphicFrameChg chg="add del mod ord modGraphic">
          <ac:chgData name="George Patrasc" userId="1473b47d5cd04395" providerId="Windows Live" clId="Web-{58B379CB-815D-4121-9B1C-6CE5F1E78026}" dt="2023-09-12T12:24:39.238" v="68"/>
          <ac:graphicFrameMkLst>
            <pc:docMk/>
            <pc:sldMk cId="171323570" sldId="1216"/>
            <ac:graphicFrameMk id="7" creationId="{35069699-CCFC-FD89-FB56-A01A9D2542EC}"/>
          </ac:graphicFrameMkLst>
        </pc:graphicFrameChg>
        <pc:picChg chg="del">
          <ac:chgData name="George Patrasc" userId="1473b47d5cd04395" providerId="Windows Live" clId="Web-{58B379CB-815D-4121-9B1C-6CE5F1E78026}" dt="2023-09-12T12:24:34.691" v="66"/>
          <ac:picMkLst>
            <pc:docMk/>
            <pc:sldMk cId="171323570" sldId="1216"/>
            <ac:picMk id="12" creationId="{D5192E49-435D-FA47-CEE2-B8CEB4198329}"/>
          </ac:picMkLst>
        </pc:picChg>
        <pc:picChg chg="add mod ord">
          <ac:chgData name="George Patrasc" userId="1473b47d5cd04395" providerId="Windows Live" clId="Web-{58B379CB-815D-4121-9B1C-6CE5F1E78026}" dt="2023-09-12T12:25:13.992" v="76" actId="1076"/>
          <ac:picMkLst>
            <pc:docMk/>
            <pc:sldMk cId="171323570" sldId="1216"/>
            <ac:picMk id="15" creationId="{716BD0E5-FDE9-5E99-B374-A4FF91BC5B6F}"/>
          </ac:picMkLst>
        </pc:picChg>
      </pc:sldChg>
      <pc:sldChg chg="modSp">
        <pc:chgData name="George Patrasc" userId="1473b47d5cd04395" providerId="Windows Live" clId="Web-{58B379CB-815D-4121-9B1C-6CE5F1E78026}" dt="2023-09-12T13:32:58.842" v="296" actId="1076"/>
        <pc:sldMkLst>
          <pc:docMk/>
          <pc:sldMk cId="1366193074" sldId="1217"/>
        </pc:sldMkLst>
        <pc:spChg chg="mod">
          <ac:chgData name="George Patrasc" userId="1473b47d5cd04395" providerId="Windows Live" clId="Web-{58B379CB-815D-4121-9B1C-6CE5F1E78026}" dt="2023-09-12T13:29:23.194" v="260" actId="20577"/>
          <ac:spMkLst>
            <pc:docMk/>
            <pc:sldMk cId="1366193074" sldId="1217"/>
            <ac:spMk id="4" creationId="{3416CDBB-BDCD-6BAF-072D-C170702BD676}"/>
          </ac:spMkLst>
        </pc:spChg>
        <pc:spChg chg="mod">
          <ac:chgData name="George Patrasc" userId="1473b47d5cd04395" providerId="Windows Live" clId="Web-{58B379CB-815D-4121-9B1C-6CE5F1E78026}" dt="2023-09-12T13:29:44.601" v="277" actId="20577"/>
          <ac:spMkLst>
            <pc:docMk/>
            <pc:sldMk cId="1366193074" sldId="1217"/>
            <ac:spMk id="8" creationId="{D3560FB0-8103-2738-777D-8C530FAE1016}"/>
          </ac:spMkLst>
        </pc:spChg>
        <pc:spChg chg="mod">
          <ac:chgData name="George Patrasc" userId="1473b47d5cd04395" providerId="Windows Live" clId="Web-{58B379CB-815D-4121-9B1C-6CE5F1E78026}" dt="2023-09-12T13:32:58.842" v="296" actId="1076"/>
          <ac:spMkLst>
            <pc:docMk/>
            <pc:sldMk cId="1366193074" sldId="1217"/>
            <ac:spMk id="10" creationId="{72A69F76-363B-1969-7C2B-89D6386061B4}"/>
          </ac:spMkLst>
        </pc:spChg>
        <pc:picChg chg="mod">
          <ac:chgData name="George Patrasc" userId="1473b47d5cd04395" providerId="Windows Live" clId="Web-{58B379CB-815D-4121-9B1C-6CE5F1E78026}" dt="2023-09-12T13:09:30.717" v="86" actId="1076"/>
          <ac:picMkLst>
            <pc:docMk/>
            <pc:sldMk cId="1366193074" sldId="1217"/>
            <ac:picMk id="7" creationId="{050A1D50-003A-F14D-860F-48EDCBF6EA11}"/>
          </ac:picMkLst>
        </pc:picChg>
      </pc:sldChg>
      <pc:sldChg chg="modSp">
        <pc:chgData name="George Patrasc" userId="1473b47d5cd04395" providerId="Windows Live" clId="Web-{58B379CB-815D-4121-9B1C-6CE5F1E78026}" dt="2023-09-12T13:32:06.293" v="292" actId="1076"/>
        <pc:sldMkLst>
          <pc:docMk/>
          <pc:sldMk cId="1911023253" sldId="1218"/>
        </pc:sldMkLst>
        <pc:spChg chg="mod">
          <ac:chgData name="George Patrasc" userId="1473b47d5cd04395" providerId="Windows Live" clId="Web-{58B379CB-815D-4121-9B1C-6CE5F1E78026}" dt="2023-09-12T13:32:06.293" v="292" actId="1076"/>
          <ac:spMkLst>
            <pc:docMk/>
            <pc:sldMk cId="1911023253" sldId="1218"/>
            <ac:spMk id="6" creationId="{A6AB7AC0-3C7C-E43B-FA7A-AD9BC2B425FC}"/>
          </ac:spMkLst>
        </pc:spChg>
        <pc:picChg chg="mod">
          <ac:chgData name="George Patrasc" userId="1473b47d5cd04395" providerId="Windows Live" clId="Web-{58B379CB-815D-4121-9B1C-6CE5F1E78026}" dt="2023-09-12T12:42:12.422" v="78" actId="14100"/>
          <ac:picMkLst>
            <pc:docMk/>
            <pc:sldMk cId="1911023253" sldId="1218"/>
            <ac:picMk id="9" creationId="{DEE5A6AE-F989-9DCA-55DE-00F0BF844383}"/>
          </ac:picMkLst>
        </pc:picChg>
      </pc:sldChg>
      <pc:sldChg chg="modSp">
        <pc:chgData name="George Patrasc" userId="1473b47d5cd04395" providerId="Windows Live" clId="Web-{58B379CB-815D-4121-9B1C-6CE5F1E78026}" dt="2023-09-12T13:33:48.125" v="301" actId="1076"/>
        <pc:sldMkLst>
          <pc:docMk/>
          <pc:sldMk cId="915022865" sldId="1219"/>
        </pc:sldMkLst>
        <pc:spChg chg="mod">
          <ac:chgData name="George Patrasc" userId="1473b47d5cd04395" providerId="Windows Live" clId="Web-{58B379CB-815D-4121-9B1C-6CE5F1E78026}" dt="2023-09-12T13:33:48.125" v="301" actId="1076"/>
          <ac:spMkLst>
            <pc:docMk/>
            <pc:sldMk cId="915022865" sldId="1219"/>
            <ac:spMk id="6" creationId="{7683350F-988B-CB4D-B4AB-9FF7B7712603}"/>
          </ac:spMkLst>
        </pc:spChg>
        <pc:spChg chg="mod">
          <ac:chgData name="George Patrasc" userId="1473b47d5cd04395" providerId="Windows Live" clId="Web-{58B379CB-815D-4121-9B1C-6CE5F1E78026}" dt="2023-09-12T13:30:30.368" v="282" actId="14100"/>
          <ac:spMkLst>
            <pc:docMk/>
            <pc:sldMk cId="915022865" sldId="1219"/>
            <ac:spMk id="13" creationId="{48E6C209-CB55-9F5E-50AA-7B5601F2BB46}"/>
          </ac:spMkLst>
        </pc:spChg>
      </pc:sldChg>
      <pc:sldChg chg="addSp delSp modSp new">
        <pc:chgData name="George Patrasc" userId="1473b47d5cd04395" providerId="Windows Live" clId="Web-{58B379CB-815D-4121-9B1C-6CE5F1E78026}" dt="2023-09-12T13:32:26.419" v="294" actId="1076"/>
        <pc:sldMkLst>
          <pc:docMk/>
          <pc:sldMk cId="47516224" sldId="1220"/>
        </pc:sldMkLst>
        <pc:spChg chg="mod">
          <ac:chgData name="George Patrasc" userId="1473b47d5cd04395" providerId="Windows Live" clId="Web-{58B379CB-815D-4121-9B1C-6CE5F1E78026}" dt="2023-09-12T13:10:38.329" v="116" actId="20577"/>
          <ac:spMkLst>
            <pc:docMk/>
            <pc:sldMk cId="47516224" sldId="1220"/>
            <ac:spMk id="2" creationId="{BF10D9DC-AF94-E2BD-4A6F-67ADD610063E}"/>
          </ac:spMkLst>
        </pc:spChg>
        <pc:spChg chg="add del mod">
          <ac:chgData name="George Patrasc" userId="1473b47d5cd04395" providerId="Windows Live" clId="Web-{58B379CB-815D-4121-9B1C-6CE5F1E78026}" dt="2023-09-12T13:17:48.624" v="184"/>
          <ac:spMkLst>
            <pc:docMk/>
            <pc:sldMk cId="47516224" sldId="1220"/>
            <ac:spMk id="3" creationId="{FD080B07-7C9F-5DB3-6C66-494DD91B5BCA}"/>
          </ac:spMkLst>
        </pc:spChg>
        <pc:spChg chg="del">
          <ac:chgData name="George Patrasc" userId="1473b47d5cd04395" providerId="Windows Live" clId="Web-{58B379CB-815D-4121-9B1C-6CE5F1E78026}" dt="2023-09-12T13:07:31.979" v="81"/>
          <ac:spMkLst>
            <pc:docMk/>
            <pc:sldMk cId="47516224" sldId="1220"/>
            <ac:spMk id="4" creationId="{B0C00D0A-510E-C4DD-FE8D-8F20DBFC838B}"/>
          </ac:spMkLst>
        </pc:spChg>
        <pc:spChg chg="del">
          <ac:chgData name="George Patrasc" userId="1473b47d5cd04395" providerId="Windows Live" clId="Web-{58B379CB-815D-4121-9B1C-6CE5F1E78026}" dt="2023-09-12T13:07:18.713" v="80"/>
          <ac:spMkLst>
            <pc:docMk/>
            <pc:sldMk cId="47516224" sldId="1220"/>
            <ac:spMk id="5" creationId="{85454717-ECE6-BDA3-00C6-000D3467A047}"/>
          </ac:spMkLst>
        </pc:spChg>
        <pc:spChg chg="mod">
          <ac:chgData name="George Patrasc" userId="1473b47d5cd04395" providerId="Windows Live" clId="Web-{58B379CB-815D-4121-9B1C-6CE5F1E78026}" dt="2023-09-12T13:32:26.419" v="294" actId="1076"/>
          <ac:spMkLst>
            <pc:docMk/>
            <pc:sldMk cId="47516224" sldId="1220"/>
            <ac:spMk id="6" creationId="{1C62C077-42CB-88E7-1F18-CF396A96E1E1}"/>
          </ac:spMkLst>
        </pc:spChg>
        <pc:spChg chg="add del mod">
          <ac:chgData name="George Patrasc" userId="1473b47d5cd04395" providerId="Windows Live" clId="Web-{58B379CB-815D-4121-9B1C-6CE5F1E78026}" dt="2023-09-12T13:17:34.327" v="183"/>
          <ac:spMkLst>
            <pc:docMk/>
            <pc:sldMk cId="47516224" sldId="1220"/>
            <ac:spMk id="9" creationId="{18BFDA0E-DC6D-9EA1-3A88-8CB824B018AA}"/>
          </ac:spMkLst>
        </pc:spChg>
        <pc:spChg chg="add del mod">
          <ac:chgData name="George Patrasc" userId="1473b47d5cd04395" providerId="Windows Live" clId="Web-{58B379CB-815D-4121-9B1C-6CE5F1E78026}" dt="2023-09-12T13:18:14" v="185"/>
          <ac:spMkLst>
            <pc:docMk/>
            <pc:sldMk cId="47516224" sldId="1220"/>
            <ac:spMk id="11" creationId="{2F56C50F-66FF-C34D-7771-E3733EE79508}"/>
          </ac:spMkLst>
        </pc:spChg>
        <pc:spChg chg="add del">
          <ac:chgData name="George Patrasc" userId="1473b47d5cd04395" providerId="Windows Live" clId="Web-{58B379CB-815D-4121-9B1C-6CE5F1E78026}" dt="2023-09-12T13:18:39.923" v="189"/>
          <ac:spMkLst>
            <pc:docMk/>
            <pc:sldMk cId="47516224" sldId="1220"/>
            <ac:spMk id="12" creationId="{EC8E1794-6DAD-D592-AE58-E691237BC94B}"/>
          </ac:spMkLst>
        </pc:spChg>
        <pc:spChg chg="add mod">
          <ac:chgData name="George Patrasc" userId="1473b47d5cd04395" providerId="Windows Live" clId="Web-{58B379CB-815D-4121-9B1C-6CE5F1E78026}" dt="2023-09-12T13:26:36.126" v="236" actId="20577"/>
          <ac:spMkLst>
            <pc:docMk/>
            <pc:sldMk cId="47516224" sldId="1220"/>
            <ac:spMk id="13" creationId="{8ACDD5C8-8604-0CD3-D218-9B47C287C904}"/>
          </ac:spMkLst>
        </pc:spChg>
        <pc:picChg chg="add mod ord">
          <ac:chgData name="George Patrasc" userId="1473b47d5cd04395" providerId="Windows Live" clId="Web-{58B379CB-815D-4121-9B1C-6CE5F1E78026}" dt="2023-09-12T13:25:17.733" v="232" actId="14100"/>
          <ac:picMkLst>
            <pc:docMk/>
            <pc:sldMk cId="47516224" sldId="1220"/>
            <ac:picMk id="7" creationId="{6DDD3F4D-CE88-7F02-2745-9A845FEB0DC6}"/>
          </ac:picMkLst>
        </pc:picChg>
      </pc:sldChg>
      <pc:sldChg chg="new del">
        <pc:chgData name="George Patrasc" userId="1473b47d5cd04395" providerId="Windows Live" clId="Web-{58B379CB-815D-4121-9B1C-6CE5F1E78026}" dt="2023-09-12T08:40:39.169" v="19"/>
        <pc:sldMkLst>
          <pc:docMk/>
          <pc:sldMk cId="490289203" sldId="1220"/>
        </pc:sldMkLst>
      </pc:sldChg>
      <pc:sldChg chg="addSp delSp new del">
        <pc:chgData name="George Patrasc" userId="1473b47d5cd04395" providerId="Windows Live" clId="Web-{58B379CB-815D-4121-9B1C-6CE5F1E78026}" dt="2023-09-12T13:34:52.345" v="317"/>
        <pc:sldMkLst>
          <pc:docMk/>
          <pc:sldMk cId="441921154" sldId="1221"/>
        </pc:sldMkLst>
        <pc:spChg chg="add del">
          <ac:chgData name="George Patrasc" userId="1473b47d5cd04395" providerId="Windows Live" clId="Web-{58B379CB-815D-4121-9B1C-6CE5F1E78026}" dt="2023-09-12T13:34:41.126" v="316"/>
          <ac:spMkLst>
            <pc:docMk/>
            <pc:sldMk cId="441921154" sldId="1221"/>
            <ac:spMk id="7" creationId="{47D5945D-71E0-2A55-74C3-546A16FC1AA4}"/>
          </ac:spMkLst>
        </pc:spChg>
        <pc:spChg chg="add del">
          <ac:chgData name="George Patrasc" userId="1473b47d5cd04395" providerId="Windows Live" clId="Web-{58B379CB-815D-4121-9B1C-6CE5F1E78026}" dt="2023-09-12T13:34:41.111" v="312"/>
          <ac:spMkLst>
            <pc:docMk/>
            <pc:sldMk cId="441921154" sldId="1221"/>
            <ac:spMk id="15" creationId="{4C1382EC-646C-FD8D-DE0E-B178E869AFDB}"/>
          </ac:spMkLst>
        </pc:spChg>
        <pc:picChg chg="add del">
          <ac:chgData name="George Patrasc" userId="1473b47d5cd04395" providerId="Windows Live" clId="Web-{58B379CB-815D-4121-9B1C-6CE5F1E78026}" dt="2023-09-12T13:34:41.126" v="315"/>
          <ac:picMkLst>
            <pc:docMk/>
            <pc:sldMk cId="441921154" sldId="1221"/>
            <ac:picMk id="9" creationId="{E71C5BBC-5A6E-5869-9638-1903FFF2B42C}"/>
          </ac:picMkLst>
        </pc:picChg>
        <pc:picChg chg="add del">
          <ac:chgData name="George Patrasc" userId="1473b47d5cd04395" providerId="Windows Live" clId="Web-{58B379CB-815D-4121-9B1C-6CE5F1E78026}" dt="2023-09-12T13:34:41.126" v="314"/>
          <ac:picMkLst>
            <pc:docMk/>
            <pc:sldMk cId="441921154" sldId="1221"/>
            <ac:picMk id="11" creationId="{015F4231-BD75-C13E-C903-315C3F444A51}"/>
          </ac:picMkLst>
        </pc:picChg>
        <pc:picChg chg="add del">
          <ac:chgData name="George Patrasc" userId="1473b47d5cd04395" providerId="Windows Live" clId="Web-{58B379CB-815D-4121-9B1C-6CE5F1E78026}" dt="2023-09-12T13:34:41.111" v="313"/>
          <ac:picMkLst>
            <pc:docMk/>
            <pc:sldMk cId="441921154" sldId="1221"/>
            <ac:picMk id="13" creationId="{EF4A055E-A255-66D4-C0EA-35B182441B23}"/>
          </ac:picMkLst>
        </pc:picChg>
        <pc:picChg chg="add del">
          <ac:chgData name="George Patrasc" userId="1473b47d5cd04395" providerId="Windows Live" clId="Web-{58B379CB-815D-4121-9B1C-6CE5F1E78026}" dt="2023-09-12T13:34:41.111" v="310"/>
          <ac:picMkLst>
            <pc:docMk/>
            <pc:sldMk cId="441921154" sldId="1221"/>
            <ac:picMk id="19" creationId="{09FB24D4-193E-6988-B3A1-B3F5915E9AC9}"/>
          </ac:picMkLst>
        </pc:picChg>
        <pc:inkChg chg="add del">
          <ac:chgData name="George Patrasc" userId="1473b47d5cd04395" providerId="Windows Live" clId="Web-{58B379CB-815D-4121-9B1C-6CE5F1E78026}" dt="2023-09-12T13:34:41.111" v="311"/>
          <ac:inkMkLst>
            <pc:docMk/>
            <pc:sldMk cId="441921154" sldId="1221"/>
            <ac:inkMk id="17" creationId="{8E3D133F-C990-7EA1-BE14-C9F167C73907}"/>
          </ac:inkMkLst>
        </pc:inkChg>
      </pc:sldChg>
      <pc:sldChg chg="addSp delSp modSp new">
        <pc:chgData name="George Patrasc" userId="1473b47d5cd04395" providerId="Windows Live" clId="Web-{58B379CB-815D-4121-9B1C-6CE5F1E78026}" dt="2023-09-12T14:35:08.297" v="362" actId="1076"/>
        <pc:sldMkLst>
          <pc:docMk/>
          <pc:sldMk cId="3203684525" sldId="1221"/>
        </pc:sldMkLst>
        <pc:spChg chg="mod">
          <ac:chgData name="George Patrasc" userId="1473b47d5cd04395" providerId="Windows Live" clId="Web-{58B379CB-815D-4121-9B1C-6CE5F1E78026}" dt="2023-09-12T14:33:23.389" v="359" actId="20577"/>
          <ac:spMkLst>
            <pc:docMk/>
            <pc:sldMk cId="3203684525" sldId="1221"/>
            <ac:spMk id="2" creationId="{5F050556-6A80-6DD8-42ED-26EC8EAF2A3A}"/>
          </ac:spMkLst>
        </pc:spChg>
        <pc:spChg chg="del">
          <ac:chgData name="George Patrasc" userId="1473b47d5cd04395" providerId="Windows Live" clId="Web-{58B379CB-815D-4121-9B1C-6CE5F1E78026}" dt="2023-09-12T14:26:06.708" v="320"/>
          <ac:spMkLst>
            <pc:docMk/>
            <pc:sldMk cId="3203684525" sldId="1221"/>
            <ac:spMk id="3" creationId="{4BB2ECEA-7310-DF7D-62D1-69165D74598C}"/>
          </ac:spMkLst>
        </pc:spChg>
        <pc:spChg chg="del">
          <ac:chgData name="George Patrasc" userId="1473b47d5cd04395" providerId="Windows Live" clId="Web-{58B379CB-815D-4121-9B1C-6CE5F1E78026}" dt="2023-09-12T14:26:09.005" v="321"/>
          <ac:spMkLst>
            <pc:docMk/>
            <pc:sldMk cId="3203684525" sldId="1221"/>
            <ac:spMk id="4" creationId="{3BA3371C-60AE-EB7B-133C-7BD1E9993DA1}"/>
          </ac:spMkLst>
        </pc:spChg>
        <pc:spChg chg="add del">
          <ac:chgData name="George Patrasc" userId="1473b47d5cd04395" providerId="Windows Live" clId="Web-{58B379CB-815D-4121-9B1C-6CE5F1E78026}" dt="2023-09-12T14:26:15.036" v="323"/>
          <ac:spMkLst>
            <pc:docMk/>
            <pc:sldMk cId="3203684525" sldId="1221"/>
            <ac:spMk id="5" creationId="{312BF4EC-5320-3D50-B61D-577586AA838D}"/>
          </ac:spMkLst>
        </pc:spChg>
        <pc:spChg chg="mod">
          <ac:chgData name="George Patrasc" userId="1473b47d5cd04395" providerId="Windows Live" clId="Web-{58B379CB-815D-4121-9B1C-6CE5F1E78026}" dt="2023-09-12T14:09:45.592" v="319" actId="1076"/>
          <ac:spMkLst>
            <pc:docMk/>
            <pc:sldMk cId="3203684525" sldId="1221"/>
            <ac:spMk id="6" creationId="{F981C8EF-4943-843A-F8E9-D39ACE12BEF2}"/>
          </ac:spMkLst>
        </pc:spChg>
        <pc:spChg chg="add mod">
          <ac:chgData name="George Patrasc" userId="1473b47d5cd04395" providerId="Windows Live" clId="Web-{58B379CB-815D-4121-9B1C-6CE5F1E78026}" dt="2023-09-12T14:35:08.297" v="362" actId="1076"/>
          <ac:spMkLst>
            <pc:docMk/>
            <pc:sldMk cId="3203684525" sldId="1221"/>
            <ac:spMk id="7" creationId="{563117E3-EE52-E935-3C9D-2452D7487472}"/>
          </ac:spMkLst>
        </pc:spChg>
      </pc:sldChg>
    </pc:docChg>
  </pc:docChgLst>
  <pc:docChgLst>
    <pc:chgData name="George Patrasc" userId="1473b47d5cd04395" providerId="Windows Live" clId="Web-{B286309E-E4D9-4FFD-B0C3-6B1F59BCFE73}"/>
    <pc:docChg chg="modSld">
      <pc:chgData name="George Patrasc" userId="1473b47d5cd04395" providerId="Windows Live" clId="Web-{B286309E-E4D9-4FFD-B0C3-6B1F59BCFE73}" dt="2023-06-06T10:27:46.007" v="6" actId="20577"/>
      <pc:docMkLst>
        <pc:docMk/>
      </pc:docMkLst>
      <pc:sldChg chg="modSp">
        <pc:chgData name="George Patrasc" userId="1473b47d5cd04395" providerId="Windows Live" clId="Web-{B286309E-E4D9-4FFD-B0C3-6B1F59BCFE73}" dt="2023-06-06T10:27:46.007" v="6" actId="20577"/>
        <pc:sldMkLst>
          <pc:docMk/>
          <pc:sldMk cId="1366193074" sldId="1217"/>
        </pc:sldMkLst>
        <pc:spChg chg="mod">
          <ac:chgData name="George Patrasc" userId="1473b47d5cd04395" providerId="Windows Live" clId="Web-{B286309E-E4D9-4FFD-B0C3-6B1F59BCFE73}" dt="2023-06-06T10:27:46.007" v="6" actId="20577"/>
          <ac:spMkLst>
            <pc:docMk/>
            <pc:sldMk cId="1366193074" sldId="1217"/>
            <ac:spMk id="4" creationId="{3416CDBB-BDCD-6BAF-072D-C170702BD676}"/>
          </ac:spMkLst>
        </pc:spChg>
      </pc:sldChg>
    </pc:docChg>
  </pc:docChgLst>
  <pc:docChgLst>
    <pc:chgData name="George Patrasc" userId="1473b47d5cd04395" providerId="Windows Live" clId="Web-{10F23F44-BECC-4A48-BFE6-E86E8B51F4DE}"/>
    <pc:docChg chg="modSld">
      <pc:chgData name="George Patrasc" userId="1473b47d5cd04395" providerId="Windows Live" clId="Web-{10F23F44-BECC-4A48-BFE6-E86E8B51F4DE}" dt="2023-09-15T17:52:55.858" v="2" actId="1076"/>
      <pc:docMkLst>
        <pc:docMk/>
      </pc:docMkLst>
      <pc:sldChg chg="modSp">
        <pc:chgData name="George Patrasc" userId="1473b47d5cd04395" providerId="Windows Live" clId="Web-{10F23F44-BECC-4A48-BFE6-E86E8B51F4DE}" dt="2023-09-15T17:52:55.858" v="2" actId="1076"/>
        <pc:sldMkLst>
          <pc:docMk/>
          <pc:sldMk cId="47516224" sldId="1220"/>
        </pc:sldMkLst>
        <pc:spChg chg="mod">
          <ac:chgData name="George Patrasc" userId="1473b47d5cd04395" providerId="Windows Live" clId="Web-{10F23F44-BECC-4A48-BFE6-E86E8B51F4DE}" dt="2023-09-15T17:52:55.858" v="2" actId="1076"/>
          <ac:spMkLst>
            <pc:docMk/>
            <pc:sldMk cId="47516224" sldId="1220"/>
            <ac:spMk id="13" creationId="{8ACDD5C8-8604-0CD3-D218-9B47C287C904}"/>
          </ac:spMkLst>
        </pc:spChg>
      </pc:sldChg>
      <pc:sldChg chg="modSp">
        <pc:chgData name="George Patrasc" userId="1473b47d5cd04395" providerId="Windows Live" clId="Web-{10F23F44-BECC-4A48-BFE6-E86E8B51F4DE}" dt="2023-09-15T17:52:05.872" v="0" actId="1076"/>
        <pc:sldMkLst>
          <pc:docMk/>
          <pc:sldMk cId="3522227657" sldId="1222"/>
        </pc:sldMkLst>
        <pc:spChg chg="mod">
          <ac:chgData name="George Patrasc" userId="1473b47d5cd04395" providerId="Windows Live" clId="Web-{10F23F44-BECC-4A48-BFE6-E86E8B51F4DE}" dt="2023-09-15T17:52:05.872" v="0" actId="1076"/>
          <ac:spMkLst>
            <pc:docMk/>
            <pc:sldMk cId="3522227657" sldId="1222"/>
            <ac:spMk id="6" creationId="{8C61AE60-E1FC-0705-B13E-A916623C7B53}"/>
          </ac:spMkLst>
        </pc:spChg>
      </pc:sldChg>
    </pc:docChg>
  </pc:docChgLst>
  <pc:docChgLst>
    <pc:chgData name="George Patrasc" userId="1473b47d5cd04395" providerId="Windows Live" clId="Web-{37DCC654-4A80-41EE-917D-B823FF87ED27}"/>
    <pc:docChg chg="modSld">
      <pc:chgData name="George Patrasc" userId="1473b47d5cd04395" providerId="Windows Live" clId="Web-{37DCC654-4A80-41EE-917D-B823FF87ED27}" dt="2023-06-07T12:55:43.155" v="3" actId="14100"/>
      <pc:docMkLst>
        <pc:docMk/>
      </pc:docMkLst>
      <pc:sldChg chg="modSp">
        <pc:chgData name="George Patrasc" userId="1473b47d5cd04395" providerId="Windows Live" clId="Web-{37DCC654-4A80-41EE-917D-B823FF87ED27}" dt="2023-06-07T12:55:43.155" v="3" actId="14100"/>
        <pc:sldMkLst>
          <pc:docMk/>
          <pc:sldMk cId="915022865" sldId="1219"/>
        </pc:sldMkLst>
        <pc:spChg chg="mod">
          <ac:chgData name="George Patrasc" userId="1473b47d5cd04395" providerId="Windows Live" clId="Web-{37DCC654-4A80-41EE-917D-B823FF87ED27}" dt="2023-06-07T12:55:40.905" v="2" actId="1076"/>
          <ac:spMkLst>
            <pc:docMk/>
            <pc:sldMk cId="915022865" sldId="1219"/>
            <ac:spMk id="2" creationId="{A8407F61-00EA-BE49-D9FB-BCCB1DB05C66}"/>
          </ac:spMkLst>
        </pc:spChg>
        <pc:spChg chg="mod">
          <ac:chgData name="George Patrasc" userId="1473b47d5cd04395" providerId="Windows Live" clId="Web-{37DCC654-4A80-41EE-917D-B823FF87ED27}" dt="2023-06-07T12:55:43.155" v="3" actId="14100"/>
          <ac:spMkLst>
            <pc:docMk/>
            <pc:sldMk cId="915022865" sldId="1219"/>
            <ac:spMk id="13" creationId="{48E6C209-CB55-9F5E-50AA-7B5601F2BB46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>
            <a:extLst>
              <a:ext uri="{FF2B5EF4-FFF2-40B4-BE49-F238E27FC236}">
                <a16:creationId xmlns:a16="http://schemas.microsoft.com/office/drawing/2014/main" id="{9A8492AF-21D1-4EA9-B88E-2B2469E5B0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b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F2C5CF11-9AB8-4366-83D6-4A911EAE67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1F2B9-B350-4061-A6D1-2A3340A8623F}" type="datetimeFigureOut">
              <a:rPr lang="en-US" sz="1050" smtClean="0">
                <a:solidFill>
                  <a:schemeClr val="tx2"/>
                </a:solidFill>
                <a:latin typeface="+mn-lt"/>
              </a:rPr>
              <a:t>9/18/2023</a:t>
            </a:fld>
            <a:endParaRPr lang="en-US" sz="10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9797856F-D8D3-4EDB-AD63-B3F843214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DA566997-7A2F-418F-AC55-BAC678F9F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>
                <a:solidFill>
                  <a:schemeClr val="accent2"/>
                </a:solidFill>
                <a:latin typeface="+mn-lt"/>
              </a:rPr>
              <a:t>Hand out</a:t>
            </a:r>
            <a:r>
              <a:rPr lang="en-US" sz="1050">
                <a:solidFill>
                  <a:schemeClr val="accent2"/>
                </a:solidFill>
                <a:latin typeface="+mn-lt"/>
              </a:rPr>
              <a:t> </a:t>
            </a:r>
            <a:fld id="{C92BABF8-1341-4DCB-864A-D83C08BEEAE4}" type="slidenum">
              <a:rPr lang="en-US" sz="1050" smtClean="0">
                <a:solidFill>
                  <a:schemeClr val="tx2"/>
                </a:solidFill>
                <a:latin typeface="+mn-lt"/>
              </a:rPr>
              <a:t>‹#›</a:t>
            </a:fld>
            <a:endParaRPr lang="en-US" sz="105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C5A460D9-E760-498F-8A06-286EB0B001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53000" y="550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83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3-09-12T08:59:22.823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</inkml:brush>
  </inkml:definitions>
  <inkml:trace contextRef="#ctx0" brushRef="#br0">15716 5239 16383 0 0,'0'0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 b="1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76FBC1AF-E4C9-412F-9B6D-66CD520F95DB}" type="datetimeFigureOut">
              <a:rPr lang="en-US" smtClean="0"/>
              <a:pPr/>
              <a:t>9/18/2023</a:t>
            </a:fld>
            <a:endParaRPr lang="en-US"/>
          </a:p>
        </p:txBody>
      </p:sp>
      <p:sp>
        <p:nvSpPr>
          <p:cNvPr id="4" name="Slide Image Placeholder"/>
          <p:cNvSpPr>
            <a:spLocks noGrp="1" noRot="1" noChangeAspect="1"/>
          </p:cNvSpPr>
          <p:nvPr>
            <p:ph type="sldImg" idx="2"/>
          </p:nvPr>
        </p:nvSpPr>
        <p:spPr>
          <a:xfrm>
            <a:off x="406800" y="619200"/>
            <a:ext cx="6048000" cy="3402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"/>
          <p:cNvSpPr>
            <a:spLocks noGrp="1"/>
          </p:cNvSpPr>
          <p:nvPr>
            <p:ph type="body" sz="quarter" idx="3"/>
          </p:nvPr>
        </p:nvSpPr>
        <p:spPr>
          <a:xfrm>
            <a:off x="406800" y="4575600"/>
            <a:ext cx="6048000" cy="39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4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‹#›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306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720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6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0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4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4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4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4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7" Type="http://schemas.openxmlformats.org/officeDocument/2006/relationships/image" Target="../media/image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7" Type="http://schemas.openxmlformats.org/officeDocument/2006/relationships/image" Target="../media/image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../media/image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7" Type="http://schemas.openxmlformats.org/officeDocument/2006/relationships/image" Target="../media/image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6" Type="http://schemas.openxmlformats.org/officeDocument/2006/relationships/image" Target="../media/image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openxmlformats.org/officeDocument/2006/relationships/image" Target="../media/image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9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6" Type="http://schemas.openxmlformats.org/officeDocument/2006/relationships/image" Target="../media/image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0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4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4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4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4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2026250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26629223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2" name="Siemens Logo" descr="Siemens logo">
            <a:extLst>
              <a:ext uri="{FF2B5EF4-FFF2-40B4-BE49-F238E27FC236}">
                <a16:creationId xmlns:a16="http://schemas.microsoft.com/office/drawing/2014/main" id="{B2A85C66-41FC-4CE3-EFFB-C549DDD7929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9643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59" userDrawn="1">
          <p15:clr>
            <a:srgbClr val="65CEFF"/>
          </p15:clr>
        </p15:guide>
        <p15:guide id="11" pos="6472" userDrawn="1">
          <p15:clr>
            <a:srgbClr val="65CEFF"/>
          </p15:clr>
        </p15:guide>
        <p15:guide id="12" pos="7425" userDrawn="1">
          <p15:clr>
            <a:srgbClr val="65CEFF"/>
          </p15:clr>
        </p15:guide>
        <p15:guide id="13" orient="horz" pos="302" userDrawn="1">
          <p15:clr>
            <a:srgbClr val="65CEFF"/>
          </p15:clr>
        </p15:guide>
        <p15:guide id="14" orient="horz" pos="664" userDrawn="1">
          <p15:clr>
            <a:srgbClr val="65CEFF"/>
          </p15:clr>
        </p15:guide>
        <p15:guide id="15" orient="horz" pos="891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2" name="Siemens Logo" descr="Siemens logo">
            <a:extLst>
              <a:ext uri="{FF2B5EF4-FFF2-40B4-BE49-F238E27FC236}">
                <a16:creationId xmlns:a16="http://schemas.microsoft.com/office/drawing/2014/main" id="{632AB154-1B47-4E26-4155-8FF1496287B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2494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259" userDrawn="1">
          <p15:clr>
            <a:srgbClr val="65CEFF"/>
          </p15:clr>
        </p15:guide>
        <p15:guide id="13" pos="3705" userDrawn="1">
          <p15:clr>
            <a:srgbClr val="65CEFF"/>
          </p15:clr>
        </p15:guide>
        <p15:guide id="14" pos="3978" userDrawn="1">
          <p15:clr>
            <a:srgbClr val="65CEFF"/>
          </p15:clr>
        </p15:guide>
        <p15:guide id="15" pos="6472" userDrawn="1">
          <p15:clr>
            <a:srgbClr val="65CEFF"/>
          </p15:clr>
        </p15:guide>
        <p15:guide id="16" pos="7425" userDrawn="1">
          <p15:clr>
            <a:srgbClr val="65CEFF"/>
          </p15:clr>
        </p15:guide>
        <p15:guide id="17" orient="horz" pos="302" userDrawn="1">
          <p15:clr>
            <a:srgbClr val="65CEFF"/>
          </p15:clr>
        </p15:guide>
        <p15:guide id="18" orient="horz" pos="664" userDrawn="1">
          <p15:clr>
            <a:srgbClr val="65CEFF"/>
          </p15:clr>
        </p15:guide>
        <p15:guide id="19" orient="horz" pos="891" userDrawn="1">
          <p15:clr>
            <a:srgbClr val="65CEFF"/>
          </p15:clr>
        </p15:guide>
        <p15:guide id="20" orient="horz" pos="3658" userDrawn="1">
          <p15:clr>
            <a:srgbClr val="65CEFF"/>
          </p15:clr>
        </p15:guide>
        <p15:guide id="21" orient="horz" pos="3885" userDrawn="1">
          <p15:clr>
            <a:srgbClr val="65CEFF"/>
          </p15:clr>
        </p15:guide>
        <p15:guide id="22" orient="horz" pos="4157" userDrawn="1">
          <p15:clr>
            <a:srgbClr val="65CEFF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2" name="Siemens Logo" descr="Siemens logo">
            <a:extLst>
              <a:ext uri="{FF2B5EF4-FFF2-40B4-BE49-F238E27FC236}">
                <a16:creationId xmlns:a16="http://schemas.microsoft.com/office/drawing/2014/main" id="{42CAEEEE-7B0C-CF47-C6FB-D1DCC1E0C9B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555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259" userDrawn="1">
          <p15:clr>
            <a:srgbClr val="65CEFF"/>
          </p15:clr>
        </p15:guide>
        <p15:guide id="15" pos="2526" userDrawn="1">
          <p15:clr>
            <a:srgbClr val="65CEFF"/>
          </p15:clr>
        </p15:guide>
        <p15:guide id="16" pos="2708" userDrawn="1">
          <p15:clr>
            <a:srgbClr val="65CEFF"/>
          </p15:clr>
        </p15:guide>
        <p15:guide id="17" pos="4975" userDrawn="1">
          <p15:clr>
            <a:srgbClr val="65CEFF"/>
          </p15:clr>
        </p15:guide>
        <p15:guide id="18" pos="5157" userDrawn="1">
          <p15:clr>
            <a:srgbClr val="65CEFF"/>
          </p15:clr>
        </p15:guide>
        <p15:guide id="19" pos="6472" userDrawn="1">
          <p15:clr>
            <a:srgbClr val="65CEFF"/>
          </p15:clr>
        </p15:guide>
        <p15:guide id="20" pos="7425" userDrawn="1">
          <p15:clr>
            <a:srgbClr val="65CEFF"/>
          </p15:clr>
        </p15:guide>
        <p15:guide id="21" orient="horz" pos="302" userDrawn="1">
          <p15:clr>
            <a:srgbClr val="65CEFF"/>
          </p15:clr>
        </p15:guide>
        <p15:guide id="22" orient="horz" pos="664" userDrawn="1">
          <p15:clr>
            <a:srgbClr val="65CEFF"/>
          </p15:clr>
        </p15:guide>
        <p15:guide id="23" orient="horz" pos="891" userDrawn="1">
          <p15:clr>
            <a:srgbClr val="65CEFF"/>
          </p15:clr>
        </p15:guide>
        <p15:guide id="24" orient="horz" pos="3658" userDrawn="1">
          <p15:clr>
            <a:srgbClr val="65CEFF"/>
          </p15:clr>
        </p15:guide>
        <p15:guide id="25" orient="horz" pos="3885" userDrawn="1">
          <p15:clr>
            <a:srgbClr val="65CEFF"/>
          </p15:clr>
        </p15:guide>
        <p15:guide id="26" orient="horz" pos="4157" userDrawn="1">
          <p15:clr>
            <a:srgbClr val="65CEFF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2" name="Siemens Logo" descr="Siemens logo">
            <a:extLst>
              <a:ext uri="{FF2B5EF4-FFF2-40B4-BE49-F238E27FC236}">
                <a16:creationId xmlns:a16="http://schemas.microsoft.com/office/drawing/2014/main" id="{31987958-EAA8-33A7-1132-2E23C5738CD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78851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259" userDrawn="1">
          <p15:clr>
            <a:srgbClr val="65CEFF"/>
          </p15:clr>
        </p15:guide>
        <p15:guide id="15" pos="3705" userDrawn="1">
          <p15:clr>
            <a:srgbClr val="65CEFF"/>
          </p15:clr>
        </p15:guide>
        <p15:guide id="16" pos="3978" userDrawn="1">
          <p15:clr>
            <a:srgbClr val="65CEFF"/>
          </p15:clr>
        </p15:guide>
        <p15:guide id="17" pos="6472" userDrawn="1">
          <p15:clr>
            <a:srgbClr val="65CEFF"/>
          </p15:clr>
        </p15:guide>
        <p15:guide id="18" pos="7425" userDrawn="1">
          <p15:clr>
            <a:srgbClr val="65CEFF"/>
          </p15:clr>
        </p15:guide>
        <p15:guide id="19" orient="horz" pos="302" userDrawn="1">
          <p15:clr>
            <a:srgbClr val="65CEFF"/>
          </p15:clr>
        </p15:guide>
        <p15:guide id="20" orient="horz" pos="664" userDrawn="1">
          <p15:clr>
            <a:srgbClr val="65CEFF"/>
          </p15:clr>
        </p15:guide>
        <p15:guide id="21" orient="horz" pos="891" userDrawn="1">
          <p15:clr>
            <a:srgbClr val="65CEFF"/>
          </p15:clr>
        </p15:guide>
        <p15:guide id="22" orient="horz" pos="2206" userDrawn="1">
          <p15:clr>
            <a:srgbClr val="65CEFF"/>
          </p15:clr>
        </p15:guide>
        <p15:guide id="23" orient="horz" pos="2343" userDrawn="1">
          <p15:clr>
            <a:srgbClr val="65CEFF"/>
          </p15:clr>
        </p15:guide>
        <p15:guide id="24" orient="horz" pos="3658" userDrawn="1">
          <p15:clr>
            <a:srgbClr val="65CEFF"/>
          </p15:clr>
        </p15:guide>
        <p15:guide id="25" orient="horz" pos="3885" userDrawn="1">
          <p15:clr>
            <a:srgbClr val="65CEFF"/>
          </p15:clr>
        </p15:guide>
        <p15:guide id="26" orient="horz" pos="4157" userDrawn="1">
          <p15:clr>
            <a:srgbClr val="65CEFF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 dirty="0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DD738294-4009-E156-E3F9-287407041C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684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259" userDrawn="1">
          <p15:clr>
            <a:srgbClr val="65CEFF"/>
          </p15:clr>
        </p15:guide>
        <p15:guide id="13" pos="4794" userDrawn="1">
          <p15:clr>
            <a:srgbClr val="65CEFF"/>
          </p15:clr>
        </p15:guide>
        <p15:guide id="14" pos="5066" userDrawn="1">
          <p15:clr>
            <a:srgbClr val="65CEFF"/>
          </p15:clr>
        </p15:guide>
        <p15:guide id="15" pos="6472" userDrawn="1">
          <p15:clr>
            <a:srgbClr val="65CEFF"/>
          </p15:clr>
        </p15:guide>
        <p15:guide id="16" pos="7425" userDrawn="1">
          <p15:clr>
            <a:srgbClr val="65CEFF"/>
          </p15:clr>
        </p15:guide>
        <p15:guide id="17" orient="horz" pos="302" userDrawn="1">
          <p15:clr>
            <a:srgbClr val="65CEFF"/>
          </p15:clr>
        </p15:guide>
        <p15:guide id="18" orient="horz" pos="664" userDrawn="1">
          <p15:clr>
            <a:srgbClr val="65CEFF"/>
          </p15:clr>
        </p15:guide>
        <p15:guide id="19" orient="horz" pos="891" userDrawn="1">
          <p15:clr>
            <a:srgbClr val="65CEFF"/>
          </p15:clr>
        </p15:guide>
        <p15:guide id="20" orient="horz" pos="3658" userDrawn="1">
          <p15:clr>
            <a:srgbClr val="65CEFF"/>
          </p15:clr>
        </p15:guide>
        <p15:guide id="21" orient="horz" pos="3885" userDrawn="1">
          <p15:clr>
            <a:srgbClr val="65CEFF"/>
          </p15:clr>
        </p15:guide>
        <p15:guide id="22" orient="horz" pos="4157" userDrawn="1">
          <p15:clr>
            <a:srgbClr val="65CEFF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(Spotlight) 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CDB3873-636D-DB28-42F2-AC712DDF36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6255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DB3873-636D-DB28-42F2-AC712DDF36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>
            <a:extLst>
              <a:ext uri="{FF2B5EF4-FFF2-40B4-BE49-F238E27FC236}">
                <a16:creationId xmlns:a16="http://schemas.microsoft.com/office/drawing/2014/main" id="{E9BE8B91-3AD5-EB22-75C3-25B49B612DF4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12192000" cy="61674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3" name="Bildplatzhalter 12" descr="Thematic picture – please describe further">
            <a:extLst>
              <a:ext uri="{FF2B5EF4-FFF2-40B4-BE49-F238E27FC236}">
                <a16:creationId xmlns:a16="http://schemas.microsoft.com/office/drawing/2014/main" id="{DB8EAE19-1554-F94C-4D76-C4D3F7AD1F5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7797800" cy="6167438"/>
          </a:xfrm>
          <a:custGeom>
            <a:avLst/>
            <a:gdLst>
              <a:gd name="connsiteX0" fmla="*/ 0 w 7797800"/>
              <a:gd name="connsiteY0" fmla="*/ 0 h 6167438"/>
              <a:gd name="connsiteX1" fmla="*/ 7797800 w 7797800"/>
              <a:gd name="connsiteY1" fmla="*/ 0 h 6167438"/>
              <a:gd name="connsiteX2" fmla="*/ 5490747 w 7797800"/>
              <a:gd name="connsiteY2" fmla="*/ 6167438 h 6167438"/>
              <a:gd name="connsiteX3" fmla="*/ 0 w 7797800"/>
              <a:gd name="connsiteY3" fmla="*/ 6167438 h 616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97800" h="6167438">
                <a:moveTo>
                  <a:pt x="0" y="0"/>
                </a:moveTo>
                <a:lnTo>
                  <a:pt x="7797800" y="0"/>
                </a:lnTo>
                <a:lnTo>
                  <a:pt x="5490747" y="6167438"/>
                </a:lnTo>
                <a:lnTo>
                  <a:pt x="0" y="6167438"/>
                </a:lnTo>
                <a:close/>
              </a:path>
            </a:pathLst>
          </a:custGeom>
          <a:solidFill>
            <a:srgbClr val="9999A9"/>
          </a:solidFill>
        </p:spPr>
        <p:txBody>
          <a:bodyPr wrap="square" lIns="144000" tIns="108000" rIns="144000" bIns="108000">
            <a:noAutofit/>
          </a:bodyPr>
          <a:lstStyle/>
          <a:p>
            <a:r>
              <a:rPr lang="en-US" dirty="0"/>
              <a:t>Thematic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6C10F9E1-F99E-0873-BBCA-576C1477C5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054100"/>
            <a:ext cx="3744000" cy="51127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562260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(Spotlight)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CDB3873-636D-DB28-42F2-AC712DDF36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744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DB3873-636D-DB28-42F2-AC712DDF36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>
            <a:extLst>
              <a:ext uri="{FF2B5EF4-FFF2-40B4-BE49-F238E27FC236}">
                <a16:creationId xmlns:a16="http://schemas.microsoft.com/office/drawing/2014/main" id="{E9BE8B91-3AD5-EB22-75C3-25B49B612DF4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12192000" cy="61674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5" name="Bildplatzhalter 14" descr="Thematic picture – please describe further">
            <a:extLst>
              <a:ext uri="{FF2B5EF4-FFF2-40B4-BE49-F238E27FC236}">
                <a16:creationId xmlns:a16="http://schemas.microsoft.com/office/drawing/2014/main" id="{8E252A13-DC37-9FB2-F00A-C774AD6C386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1" y="0"/>
            <a:ext cx="9393237" cy="6167438"/>
          </a:xfrm>
          <a:custGeom>
            <a:avLst/>
            <a:gdLst>
              <a:gd name="connsiteX0" fmla="*/ 0 w 9393237"/>
              <a:gd name="connsiteY0" fmla="*/ 0 h 6167438"/>
              <a:gd name="connsiteX1" fmla="*/ 1595437 w 9393237"/>
              <a:gd name="connsiteY1" fmla="*/ 0 h 6167438"/>
              <a:gd name="connsiteX2" fmla="*/ 7797800 w 9393237"/>
              <a:gd name="connsiteY2" fmla="*/ 0 h 6167438"/>
              <a:gd name="connsiteX3" fmla="*/ 9393237 w 9393237"/>
              <a:gd name="connsiteY3" fmla="*/ 0 h 6167438"/>
              <a:gd name="connsiteX4" fmla="*/ 7086184 w 9393237"/>
              <a:gd name="connsiteY4" fmla="*/ 6167438 h 6167438"/>
              <a:gd name="connsiteX5" fmla="*/ 5490747 w 9393237"/>
              <a:gd name="connsiteY5" fmla="*/ 6167438 h 6167438"/>
              <a:gd name="connsiteX6" fmla="*/ 1595437 w 9393237"/>
              <a:gd name="connsiteY6" fmla="*/ 6167438 h 6167438"/>
              <a:gd name="connsiteX7" fmla="*/ 0 w 9393237"/>
              <a:gd name="connsiteY7" fmla="*/ 6167438 h 616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393237" h="6167438">
                <a:moveTo>
                  <a:pt x="0" y="0"/>
                </a:moveTo>
                <a:lnTo>
                  <a:pt x="1595437" y="0"/>
                </a:lnTo>
                <a:lnTo>
                  <a:pt x="7797800" y="0"/>
                </a:lnTo>
                <a:lnTo>
                  <a:pt x="9393237" y="0"/>
                </a:lnTo>
                <a:lnTo>
                  <a:pt x="7086184" y="6167438"/>
                </a:lnTo>
                <a:lnTo>
                  <a:pt x="5490747" y="6167438"/>
                </a:lnTo>
                <a:lnTo>
                  <a:pt x="1595437" y="6167438"/>
                </a:lnTo>
                <a:lnTo>
                  <a:pt x="0" y="6167438"/>
                </a:lnTo>
                <a:close/>
              </a:path>
            </a:pathLst>
          </a:custGeom>
          <a:solidFill>
            <a:srgbClr val="9999A9"/>
          </a:solidFill>
        </p:spPr>
        <p:txBody>
          <a:bodyPr wrap="square" lIns="144000" tIns="108000" rIns="144000" bIns="108000">
            <a:noAutofit/>
          </a:bodyPr>
          <a:lstStyle/>
          <a:p>
            <a:r>
              <a:rPr lang="en-US" dirty="0"/>
              <a:t>Thematic pictur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F156A745-D3D9-3068-B371-CC6DBB863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4839631"/>
            <a:ext cx="3744000" cy="96744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959794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table (large)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3D2313B-0374-0B8E-AB82-26CC49FD40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1809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D2313B-0374-0B8E-AB82-26CC49FD40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BD8A9896-8801-6D5D-B94E-85F7F12297A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060640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2" name="Siemens Logo" descr="Siemens logo">
            <a:extLst>
              <a:ext uri="{FF2B5EF4-FFF2-40B4-BE49-F238E27FC236}">
                <a16:creationId xmlns:a16="http://schemas.microsoft.com/office/drawing/2014/main" id="{2B45E454-9C2B-6C10-19CB-E3905D3025E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3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59" userDrawn="1">
          <p15:clr>
            <a:srgbClr val="65CEFF"/>
          </p15:clr>
        </p15:guide>
        <p15:guide id="11" pos="6472" userDrawn="1">
          <p15:clr>
            <a:srgbClr val="65CEFF"/>
          </p15:clr>
        </p15:guide>
        <p15:guide id="12" pos="7425" userDrawn="1">
          <p15:clr>
            <a:srgbClr val="65CEFF"/>
          </p15:clr>
        </p15:guide>
        <p15:guide id="13" orient="horz" pos="302" userDrawn="1">
          <p15:clr>
            <a:srgbClr val="65CEFF"/>
          </p15:clr>
        </p15:guide>
        <p15:guide id="14" orient="horz" pos="664" userDrawn="1">
          <p15:clr>
            <a:srgbClr val="65CEFF"/>
          </p15:clr>
        </p15:guide>
        <p15:guide id="15" orient="horz" pos="891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accent3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2" name="Siemens Logo" descr="Siemens logo">
            <a:extLst>
              <a:ext uri="{FF2B5EF4-FFF2-40B4-BE49-F238E27FC236}">
                <a16:creationId xmlns:a16="http://schemas.microsoft.com/office/drawing/2014/main" id="{D85BC653-7E03-C06F-7937-27854F2DB23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8791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4" pos="259" userDrawn="1">
          <p15:clr>
            <a:srgbClr val="65CEFF"/>
          </p15:clr>
        </p15:guide>
        <p15:guide id="15" pos="2526" userDrawn="1">
          <p15:clr>
            <a:srgbClr val="65CEFF"/>
          </p15:clr>
        </p15:guide>
        <p15:guide id="16" pos="2708" userDrawn="1">
          <p15:clr>
            <a:srgbClr val="65CEFF"/>
          </p15:clr>
        </p15:guide>
        <p15:guide id="17" pos="4975" userDrawn="1">
          <p15:clr>
            <a:srgbClr val="65CEFF"/>
          </p15:clr>
        </p15:guide>
        <p15:guide id="18" pos="5157" userDrawn="1">
          <p15:clr>
            <a:srgbClr val="65CEFF"/>
          </p15:clr>
        </p15:guide>
        <p15:guide id="19" pos="6472" userDrawn="1">
          <p15:clr>
            <a:srgbClr val="65CEFF"/>
          </p15:clr>
        </p15:guide>
        <p15:guide id="20" pos="7425" userDrawn="1">
          <p15:clr>
            <a:srgbClr val="65CEFF"/>
          </p15:clr>
        </p15:guide>
        <p15:guide id="21" orient="horz" pos="302" userDrawn="1">
          <p15:clr>
            <a:srgbClr val="65CEFF"/>
          </p15:clr>
        </p15:guide>
        <p15:guide id="22" orient="horz" pos="664" userDrawn="1">
          <p15:clr>
            <a:srgbClr val="65CEFF"/>
          </p15:clr>
        </p15:guide>
        <p15:guide id="23" orient="horz" pos="891" userDrawn="1">
          <p15:clr>
            <a:srgbClr val="65CEFF"/>
          </p15:clr>
        </p15:guide>
        <p15:guide id="24" orient="horz" pos="3658" userDrawn="1">
          <p15:clr>
            <a:srgbClr val="65CEFF"/>
          </p15:clr>
        </p15:guide>
        <p15:guide id="25" orient="horz" pos="3885" userDrawn="1">
          <p15:clr>
            <a:srgbClr val="65CEFF"/>
          </p15:clr>
        </p15:guide>
        <p15:guide id="26" orient="horz" pos="4157" userDrawn="1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3792413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 flow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38A78A7-B6E7-31A6-5222-A33073BB8B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8649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8A78A7-B6E7-31A6-5222-A33073BB8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ln>
                  <a:noFill/>
                </a:ln>
                <a:solidFill>
                  <a:schemeClr val="bg1"/>
                </a:solidFill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ln>
                  <a:noFill/>
                </a:ln>
                <a:solidFill>
                  <a:schemeClr val="bg1"/>
                </a:solidFill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2" name="Siemens Logo" descr="Siemens logo">
            <a:extLst>
              <a:ext uri="{FF2B5EF4-FFF2-40B4-BE49-F238E27FC236}">
                <a16:creationId xmlns:a16="http://schemas.microsoft.com/office/drawing/2014/main" id="{CDF7B5B8-45D0-DCDA-12CD-B1F9876F22D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5279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solidFill>
            <a:schemeClr val="accent2"/>
          </a:soli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Quote marks">
            <a:extLst>
              <a:ext uri="{FF2B5EF4-FFF2-40B4-BE49-F238E27FC236}">
                <a16:creationId xmlns:a16="http://schemas.microsoft.com/office/drawing/2014/main" id="{2FDDBE85-CF0E-3DF4-B00C-FFDA2D12C6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836C4337-4046-A3B0-F73E-37B6C81638F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5677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9" pos="259" userDrawn="1">
          <p15:clr>
            <a:srgbClr val="65CEFF"/>
          </p15:clr>
        </p15:guide>
        <p15:guide id="10" pos="6472" userDrawn="1">
          <p15:clr>
            <a:srgbClr val="65CEFF"/>
          </p15:clr>
        </p15:guide>
        <p15:guide id="11" pos="7425" userDrawn="1">
          <p15:clr>
            <a:srgbClr val="65CEFF"/>
          </p15:clr>
        </p15:guide>
        <p15:guide id="12" orient="horz" pos="891" userDrawn="1">
          <p15:clr>
            <a:srgbClr val="65CEFF"/>
          </p15:clr>
        </p15:guide>
        <p15:guide id="13" orient="horz" pos="1073" userDrawn="1">
          <p15:clr>
            <a:srgbClr val="65CEFF"/>
          </p15:clr>
        </p15:guide>
        <p15:guide id="14" orient="horz" pos="3658" userDrawn="1">
          <p15:clr>
            <a:srgbClr val="65CEFF"/>
          </p15:clr>
        </p15:guide>
        <p15:guide id="15" orient="horz" pos="3885" userDrawn="1">
          <p15:clr>
            <a:srgbClr val="65CEFF"/>
          </p15:clr>
        </p15:guide>
        <p15:guide id="16" orient="horz" pos="4157" userDrawn="1">
          <p15:clr>
            <a:srgbClr val="65CEFF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solidFill>
            <a:schemeClr val="accent1"/>
          </a:soli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99F5D56C-36CD-3C97-70AC-9F3BC1ABCB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702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259" userDrawn="1">
          <p15:clr>
            <a:srgbClr val="65CEFF"/>
          </p15:clr>
        </p15:guide>
        <p15:guide id="12" pos="6472" userDrawn="1">
          <p15:clr>
            <a:srgbClr val="65CEFF"/>
          </p15:clr>
        </p15:guide>
        <p15:guide id="13" pos="7425" userDrawn="1">
          <p15:clr>
            <a:srgbClr val="65CEFF"/>
          </p15:clr>
        </p15:guide>
        <p15:guide id="14" orient="horz" pos="891" userDrawn="1">
          <p15:clr>
            <a:srgbClr val="65CEFF"/>
          </p15:clr>
        </p15:guide>
        <p15:guide id="15" orient="horz" pos="1073" userDrawn="1">
          <p15:clr>
            <a:srgbClr val="65CEFF"/>
          </p15:clr>
        </p15:guide>
        <p15:guide id="16" orient="horz" pos="2206" userDrawn="1">
          <p15:clr>
            <a:srgbClr val="65CEFF"/>
          </p15:clr>
        </p15:guide>
        <p15:guide id="17" orient="horz" pos="2343" userDrawn="1">
          <p15:clr>
            <a:srgbClr val="65CEFF"/>
          </p15:clr>
        </p15:guide>
        <p15:guide id="18" orient="horz" pos="3658" userDrawn="1">
          <p15:clr>
            <a:srgbClr val="65CEFF"/>
          </p15:clr>
        </p15:guide>
        <p15:guide id="19" orient="horz" pos="3885" userDrawn="1">
          <p15:clr>
            <a:srgbClr val="65CEFF"/>
          </p15:clr>
        </p15:guide>
        <p15:guide id="20" orient="horz" pos="4157" userDrawn="1">
          <p15:clr>
            <a:srgbClr val="65CEFF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DA43FFF-F0A5-79F9-D580-DCD4103D31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2688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A43FFF-F0A5-79F9-D580-DCD4103D3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vert="horz"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5" name="Siemens Logo" descr="Siemens logo">
            <a:extLst>
              <a:ext uri="{FF2B5EF4-FFF2-40B4-BE49-F238E27FC236}">
                <a16:creationId xmlns:a16="http://schemas.microsoft.com/office/drawing/2014/main" id="{FDA50306-31E3-9116-35ED-4CAC9F40165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5910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7" pos="259" userDrawn="1">
          <p15:clr>
            <a:srgbClr val="65CEFF"/>
          </p15:clr>
        </p15:guide>
        <p15:guide id="8" pos="6472" userDrawn="1">
          <p15:clr>
            <a:srgbClr val="65CEFF"/>
          </p15:clr>
        </p15:guide>
        <p15:guide id="9" pos="7425" userDrawn="1">
          <p15:clr>
            <a:srgbClr val="65CEFF"/>
          </p15:clr>
        </p15:guide>
        <p15:guide id="10" orient="horz" pos="80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4157" userDrawn="1">
          <p15:clr>
            <a:srgbClr val="65CEFF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DBA1919-A005-3B0B-0836-B85FEBC410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0922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BA1919-A005-3B0B-0836-B85FEBC410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vert="horz"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5" name="Siemens Logo" descr="Siemens logo">
            <a:extLst>
              <a:ext uri="{FF2B5EF4-FFF2-40B4-BE49-F238E27FC236}">
                <a16:creationId xmlns:a16="http://schemas.microsoft.com/office/drawing/2014/main" id="{2C273A77-1CDD-D4AB-837E-61D61954B47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6442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14">
            <a:extLst>
              <a:ext uri="{FF2B5EF4-FFF2-40B4-BE49-F238E27FC236}">
                <a16:creationId xmlns:a16="http://schemas.microsoft.com/office/drawing/2014/main" id="{F2EB38F5-E11F-B2AA-C37C-A2F8BAE648F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301260" y="0"/>
            <a:ext cx="6890740" cy="6858000"/>
          </a:xfrm>
          <a:custGeom>
            <a:avLst/>
            <a:gdLst>
              <a:gd name="connsiteX0" fmla="*/ 2565370 w 6890740"/>
              <a:gd name="connsiteY0" fmla="*/ 0 h 6858000"/>
              <a:gd name="connsiteX1" fmla="*/ 6890740 w 6890740"/>
              <a:gd name="connsiteY1" fmla="*/ 0 h 6858000"/>
              <a:gd name="connsiteX2" fmla="*/ 6890740 w 6890740"/>
              <a:gd name="connsiteY2" fmla="*/ 6858000 h 6858000"/>
              <a:gd name="connsiteX3" fmla="*/ 0 w 689074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90740" h="6858000">
                <a:moveTo>
                  <a:pt x="2565370" y="0"/>
                </a:moveTo>
                <a:lnTo>
                  <a:pt x="6890740" y="0"/>
                </a:lnTo>
                <a:lnTo>
                  <a:pt x="689074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9999A9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Thematic picture</a:t>
            </a:r>
          </a:p>
        </p:txBody>
      </p: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8764848-09F9-9FD7-1BD3-FBAD2C7FA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8630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764848-09F9-9FD7-1BD3-FBAD2C7FA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1414464"/>
            <a:ext cx="5729143" cy="2462213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Key message, </a:t>
            </a:r>
            <a:br>
              <a:rPr lang="en-US" dirty="0"/>
            </a:br>
            <a:r>
              <a:rPr lang="en-US" dirty="0"/>
              <a:t>Arial Regular, 40 pt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4" y="3876675"/>
            <a:ext cx="5729143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0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16" name="Siemens Logo">
            <a:extLst>
              <a:ext uri="{FF2B5EF4-FFF2-40B4-BE49-F238E27FC236}">
                <a16:creationId xmlns:a16="http://schemas.microsoft.com/office/drawing/2014/main" id="{710EBED6-F1B4-D295-B051-9F1D4BDCF17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10635188" y="6415638"/>
            <a:ext cx="1152000" cy="1836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40191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14">
            <a:extLst>
              <a:ext uri="{FF2B5EF4-FFF2-40B4-BE49-F238E27FC236}">
                <a16:creationId xmlns:a16="http://schemas.microsoft.com/office/drawing/2014/main" id="{BC477578-7631-C400-D4CD-AA7FE0DA53F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301260" y="0"/>
            <a:ext cx="6890740" cy="6858000"/>
          </a:xfrm>
          <a:custGeom>
            <a:avLst/>
            <a:gdLst>
              <a:gd name="connsiteX0" fmla="*/ 2565370 w 6890740"/>
              <a:gd name="connsiteY0" fmla="*/ 0 h 6858000"/>
              <a:gd name="connsiteX1" fmla="*/ 6890740 w 6890740"/>
              <a:gd name="connsiteY1" fmla="*/ 0 h 6858000"/>
              <a:gd name="connsiteX2" fmla="*/ 6890740 w 6890740"/>
              <a:gd name="connsiteY2" fmla="*/ 6858000 h 6858000"/>
              <a:gd name="connsiteX3" fmla="*/ 0 w 689074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90740" h="6858000">
                <a:moveTo>
                  <a:pt x="2565370" y="0"/>
                </a:moveTo>
                <a:lnTo>
                  <a:pt x="6890740" y="0"/>
                </a:lnTo>
                <a:lnTo>
                  <a:pt x="689074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9999A9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Thematic picture</a:t>
            </a:r>
          </a:p>
        </p:txBody>
      </p: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8764848-09F9-9FD7-1BD3-FBAD2C7FA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522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764848-09F9-9FD7-1BD3-FBAD2C7FA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1414464"/>
            <a:ext cx="5729143" cy="2462213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Key message, </a:t>
            </a:r>
            <a:br>
              <a:rPr lang="en-US" dirty="0"/>
            </a:br>
            <a:r>
              <a:rPr lang="en-US" dirty="0"/>
              <a:t>Arial Regular, 40 pt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4" y="3876675"/>
            <a:ext cx="5729143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000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iemens Logo">
            <a:extLst>
              <a:ext uri="{FF2B5EF4-FFF2-40B4-BE49-F238E27FC236}">
                <a16:creationId xmlns:a16="http://schemas.microsoft.com/office/drawing/2014/main" id="{C02C54E2-895D-C70C-C442-B3ADBDCD0E0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10635188" y="6415638"/>
            <a:ext cx="1152000" cy="1836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52442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 dirty="0"/>
              <a:t>Click to edit the contact</a:t>
            </a:r>
          </a:p>
          <a:p>
            <a:pPr lvl="1"/>
            <a:r>
              <a:rPr lang="en-US" dirty="0"/>
              <a:t>Name etc.</a:t>
            </a:r>
          </a:p>
          <a:p>
            <a:pPr lvl="2"/>
            <a:r>
              <a:rPr lang="en-US" dirty="0"/>
              <a:t>Skills etc.</a:t>
            </a:r>
          </a:p>
          <a:p>
            <a:pPr lvl="3"/>
            <a:r>
              <a:rPr lang="en-US" dirty="0"/>
              <a:t>Name etc. sublevel</a:t>
            </a:r>
          </a:p>
          <a:p>
            <a:pPr lvl="4"/>
            <a:r>
              <a:rPr lang="en-US" dirty="0"/>
              <a:t>Skills etc. sublevel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0586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69EB34C-C8E7-0665-7C30-22E76CD29D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4977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9EB34C-C8E7-0665-7C30-22E76CD29D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vert="horz"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>
                <a:solidFill>
                  <a:schemeClr val="bg1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4pPr>
            <a:lvl5pPr marL="144000" indent="-144000" algn="l"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>
                <a:solidFill>
                  <a:schemeClr val="bg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 dirty="0"/>
              <a:t>Click to edit the contact</a:t>
            </a:r>
          </a:p>
          <a:p>
            <a:pPr lvl="1"/>
            <a:r>
              <a:rPr lang="en-US" dirty="0"/>
              <a:t>Name etc.</a:t>
            </a:r>
          </a:p>
          <a:p>
            <a:pPr lvl="2"/>
            <a:r>
              <a:rPr lang="en-US" dirty="0"/>
              <a:t>Skills etc.</a:t>
            </a:r>
          </a:p>
          <a:p>
            <a:pPr lvl="3"/>
            <a:r>
              <a:rPr lang="en-US" dirty="0"/>
              <a:t>Name etc. sublevel</a:t>
            </a:r>
          </a:p>
          <a:p>
            <a:pPr lvl="4"/>
            <a:r>
              <a:rPr lang="en-US" dirty="0"/>
              <a:t>Skills etc. sublevel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65185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38740176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1116023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37132854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35021664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422370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10933629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34779771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33220784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1273117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24960269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42236877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26665666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18041666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1358240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467889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19087869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32806408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276341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21916063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2024961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2945772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4099078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121847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1999428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209423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2530377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1852824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912665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484892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1190604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4246279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990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859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322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1546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043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EN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 userDrawn="1"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13831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111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3902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803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74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 userDrawn="1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1151364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53635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3002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9199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90073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4279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522" userDrawn="1">
          <p15:clr>
            <a:srgbClr val="65CEFF"/>
          </p15:clr>
        </p15:guide>
        <p15:guide id="3" pos="4794" userDrawn="1">
          <p15:clr>
            <a:srgbClr val="65CEFF"/>
          </p15:clr>
        </p15:guide>
        <p15:guide id="4" pos="5066" userDrawn="1">
          <p15:clr>
            <a:srgbClr val="65CEFF"/>
          </p15:clr>
        </p15:guide>
        <p15:guide id="5" pos="6472" userDrawn="1">
          <p15:clr>
            <a:srgbClr val="65CEFF"/>
          </p15:clr>
        </p15:guide>
        <p15:guide id="6" pos="7425" userDrawn="1">
          <p15:clr>
            <a:srgbClr val="65CEFF"/>
          </p15:clr>
        </p15:guide>
        <p15:guide id="7" orient="horz" pos="302" userDrawn="1">
          <p15:clr>
            <a:srgbClr val="65CEFF"/>
          </p15:clr>
        </p15:guide>
        <p15:guide id="8" orient="horz" pos="664" userDrawn="1">
          <p15:clr>
            <a:srgbClr val="65CEFF"/>
          </p15:clr>
        </p15:guide>
        <p15:guide id="9" orient="horz" pos="891" userDrawn="1">
          <p15:clr>
            <a:srgbClr val="65CEFF"/>
          </p15:clr>
        </p15:guide>
        <p15:guide id="10" orient="horz" pos="3658" userDrawn="1">
          <p15:clr>
            <a:srgbClr val="65CEFF"/>
          </p15:clr>
        </p15:guide>
        <p15:guide id="11" orient="horz" pos="3885" userDrawn="1">
          <p15:clr>
            <a:srgbClr val="65CEFF"/>
          </p15:clr>
        </p15:guide>
        <p15:guide id="12" orient="horz" pos="4157" userDrawn="1">
          <p15:clr>
            <a:srgbClr val="65CEF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534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083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3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819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2942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6472" userDrawn="1">
          <p15:clr>
            <a:srgbClr val="65CEFF"/>
          </p15:clr>
        </p15:guide>
        <p15:guide id="4" pos="7425" userDrawn="1">
          <p15:clr>
            <a:srgbClr val="65CEFF"/>
          </p15:clr>
        </p15:guide>
        <p15:guide id="5" orient="horz" pos="302" userDrawn="1">
          <p15:clr>
            <a:srgbClr val="65CEFF"/>
          </p15:clr>
        </p15:guide>
        <p15:guide id="6" orient="horz" pos="664" userDrawn="1">
          <p15:clr>
            <a:srgbClr val="65CEFF"/>
          </p15:clr>
        </p15:guide>
        <p15:guide id="7" orient="horz" pos="891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7654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29208743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1439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910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860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2206" userDrawn="1">
          <p15:clr>
            <a:srgbClr val="65CEFF"/>
          </p15:clr>
        </p15:guide>
        <p15:guide id="10" orient="horz" pos="2343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848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242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 sz="2400">
                <a:solidFill>
                  <a:srgbClr val="00C1B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158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512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3658" userDrawn="1">
          <p15:clr>
            <a:srgbClr val="65CEFF"/>
          </p15:clr>
        </p15:guide>
        <p15:guide id="7" orient="horz" pos="3885" userDrawn="1">
          <p15:clr>
            <a:srgbClr val="65CEFF"/>
          </p15:clr>
        </p15:guide>
        <p15:guide id="8" orient="horz" pos="4157" userDrawn="1">
          <p15:clr>
            <a:srgbClr val="65CEFF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419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2206" userDrawn="1">
          <p15:clr>
            <a:srgbClr val="65CEFF"/>
          </p15:clr>
        </p15:guide>
        <p15:guide id="7" orient="horz" pos="2343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416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01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878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1291605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Skills etc.</a:t>
            </a:r>
          </a:p>
          <a:p>
            <a:pPr lvl="3"/>
            <a:r>
              <a:rPr lang="en-US"/>
              <a:t>Name etc. sublevel</a:t>
            </a:r>
          </a:p>
          <a:p>
            <a:pPr lvl="4"/>
            <a:r>
              <a:rPr lang="en-US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0799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778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19A0BD7-AB76-90CD-049F-067FFA855A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8024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9A0BD7-AB76-90CD-049F-067FFA855A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pt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 b="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head size 32 pt, in case of single line heading, move subhead to the orange grid line</a:t>
            </a:r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6742D93-F021-173F-B5D5-7852031CBE44}"/>
              </a:ext>
            </a:extLst>
          </p:cNvPr>
          <p:cNvSpPr txBox="1">
            <a:spLocks/>
          </p:cNvSpPr>
          <p:nvPr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28EE639F-EB0A-37F6-B0B4-244BC621B6F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148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  <p15:guide id="8" orient="horz" pos="168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CA9731D-7513-FDD2-34FE-AFC5B0DDE4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3688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A9731D-7513-FDD2-34FE-AFC5B0DDE4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size 2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386E6E5-4263-5533-0969-DDBDC85A8A36}"/>
              </a:ext>
            </a:extLst>
          </p:cNvPr>
          <p:cNvSpPr txBox="1">
            <a:spLocks/>
          </p:cNvSpPr>
          <p:nvPr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941E2EE5-04E7-335F-5A55-2D09B146801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3119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34E26F6-3FEE-17B4-333B-9D37F59FE2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7946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4E26F6-3FEE-17B4-333B-9D37F59FE2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size 1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0773108-6097-E564-2D98-F37640A70705}"/>
              </a:ext>
            </a:extLst>
          </p:cNvPr>
          <p:cNvSpPr txBox="1">
            <a:spLocks/>
          </p:cNvSpPr>
          <p:nvPr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E289DD96-71B7-6A90-F85D-8215A63F7E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0021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Transformation 80pt (motif 1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F9EC120-B4F3-FF32-5965-7D18BDA3C2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4254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9EC120-B4F3-FF32-5965-7D18BDA3C2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Siemens Logo" descr="Siemens logo">
            <a:extLst>
              <a:ext uri="{FF2B5EF4-FFF2-40B4-BE49-F238E27FC236}">
                <a16:creationId xmlns:a16="http://schemas.microsoft.com/office/drawing/2014/main" id="{6C2B374D-7F3A-088C-4340-934971BE71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5188" y="6366627"/>
            <a:ext cx="1512000" cy="240408"/>
          </a:xfrm>
          <a:prstGeom prst="rect">
            <a:avLst/>
          </a:prstGeom>
        </p:spPr>
      </p:pic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FA83BAE-973F-3D60-4EB4-3040EB853B2A}"/>
              </a:ext>
            </a:extLst>
          </p:cNvPr>
          <p:cNvSpPr txBox="1"/>
          <p:nvPr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head size 32 pt, in case of single line heading, move subhead to the orange grid line</a:t>
            </a:r>
          </a:p>
        </p:txBody>
      </p:sp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892BD3E9-4DE6-9BF6-8398-D8F1A713C30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3522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  <p15:guide id="8" orient="horz" pos="168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Transformation 60pt (motif 1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276540B-DE0F-BA63-B30B-FA8AE1B1E0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8415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76540B-DE0F-BA63-B30B-FA8AE1B1E0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</a:t>
            </a:r>
            <a:br>
              <a:rPr lang="en-US" dirty="0"/>
            </a:br>
            <a:r>
              <a:rPr lang="en-US" dirty="0"/>
              <a:t>60 pt, 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size 2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7839D8F-D310-9EA1-0A9E-8A7C6DC3286D}"/>
              </a:ext>
            </a:extLst>
          </p:cNvPr>
          <p:cNvSpPr txBox="1"/>
          <p:nvPr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29E98D61-EC96-012F-0BE9-68ED51A40C0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8270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Transformation 40pt (motif 1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8764848-09F9-9FD7-1BD3-FBAD2C7FA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4291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764848-09F9-9FD7-1BD3-FBAD2C7FA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size 1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3B10A8B-EA99-BB4E-19D5-A9E1AE499EE0}"/>
              </a:ext>
            </a:extLst>
          </p:cNvPr>
          <p:cNvSpPr txBox="1"/>
          <p:nvPr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2A9429FF-9C30-E684-FC93-20AFAF3BF10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1014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ustainability 80pt (motif 1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840E4A0-9455-2E5B-095C-266FF11689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2202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40E4A0-9455-2E5B-095C-266FF11689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head size 32 pt, in case of single line heading, move subhead to the orange grid line</a:t>
            </a:r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FA83BAE-973F-3D60-4EB4-3040EB853B2A}"/>
              </a:ext>
            </a:extLst>
          </p:cNvPr>
          <p:cNvSpPr txBox="1"/>
          <p:nvPr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8AD57377-C539-BCDF-11ED-5C03C7DA9C5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4660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  <p15:guide id="8" orient="horz" pos="168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ustainability 60pt (motif 1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A40B3CE-5F7C-00C1-48F3-E18E34BF3A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939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40B3CE-5F7C-00C1-48F3-E18E34BF3A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size 2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7839D8F-D310-9EA1-0A9E-8A7C6DC3286D}"/>
              </a:ext>
            </a:extLst>
          </p:cNvPr>
          <p:cNvSpPr txBox="1"/>
          <p:nvPr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318867D4-FF28-0256-8CD1-10E0FB655DE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461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mask&amp;blur Sustainability 40pt (motif 1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0199863-34A3-5653-9DE2-DFB472ED83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5036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199863-34A3-5653-9DE2-DFB472ED8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size 1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3B10A8B-EA99-BB4E-19D5-A9E1AE499EE0}"/>
              </a:ext>
            </a:extLst>
          </p:cNvPr>
          <p:cNvSpPr txBox="1"/>
          <p:nvPr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33D1E72A-AAAF-620F-498F-6590A99C9FD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9425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41539785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D61995EF-DCE2-0F37-5059-5A94A4484E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2383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1995EF-DCE2-0F37-5059-5A94A4484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4023840"/>
            <a:ext cx="9287638" cy="1477328"/>
          </a:xfrm>
          <a:noFill/>
        </p:spPr>
        <p:txBody>
          <a:bodyPr vert="horz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501168"/>
            <a:ext cx="9288000" cy="666270"/>
          </a:xfrm>
          <a:prstGeom prst="rect">
            <a:avLst/>
          </a:prstGeom>
        </p:spPr>
        <p:txBody>
          <a:bodyPr lIns="0" tIns="108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size 18 pt</a:t>
            </a:r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-1"/>
            <a:ext cx="12192000" cy="3502025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418CA72E-8F5C-55E4-69EC-EDC284BC0ECA}"/>
              </a:ext>
            </a:extLst>
          </p:cNvPr>
          <p:cNvSpPr txBox="1"/>
          <p:nvPr/>
        </p:nvSpPr>
        <p:spPr>
          <a:xfrm>
            <a:off x="411163" y="3687978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83CEC842-B136-A958-847B-0813AB9F786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8867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692B1F1-424E-770E-72FC-85149EFC66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3538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92B1F1-424E-770E-72FC-85149EFC66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4023840"/>
            <a:ext cx="9287638" cy="1231106"/>
          </a:xfrm>
          <a:noFill/>
        </p:spPr>
        <p:txBody>
          <a:bodyPr vert="horz"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4946"/>
            <a:ext cx="9288000" cy="912492"/>
          </a:xfrm>
          <a:prstGeom prst="rect">
            <a:avLst/>
          </a:prstGeom>
        </p:spPr>
        <p:txBody>
          <a:bodyPr lIns="0" tIns="108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size 1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C7462F3-E6AE-EE64-AD91-6AD9038F5E69}"/>
              </a:ext>
            </a:extLst>
          </p:cNvPr>
          <p:cNvSpPr txBox="1"/>
          <p:nvPr/>
        </p:nvSpPr>
        <p:spPr>
          <a:xfrm>
            <a:off x="411163" y="3687978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619E816A-E566-79C5-6DB0-917A3679055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7710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827D6C0-1147-892B-D323-179221F9F2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403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27D6C0-1147-892B-D323-179221F9F2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4023840"/>
            <a:ext cx="9287638" cy="1661993"/>
          </a:xfrm>
          <a:noFill/>
        </p:spPr>
        <p:txBody>
          <a:bodyPr vert="horz"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685833"/>
            <a:ext cx="9288000" cy="481604"/>
          </a:xfrm>
          <a:prstGeom prst="rect">
            <a:avLst/>
          </a:prstGeom>
        </p:spPr>
        <p:txBody>
          <a:bodyPr lIns="0" tIns="108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size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82AFAD1-9E8A-F8AF-8103-4502954217CE}"/>
              </a:ext>
            </a:extLst>
          </p:cNvPr>
          <p:cNvSpPr txBox="1"/>
          <p:nvPr/>
        </p:nvSpPr>
        <p:spPr>
          <a:xfrm>
            <a:off x="411163" y="3687978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6" name="Siemens Logo" descr="Siemens logo">
            <a:extLst>
              <a:ext uri="{FF2B5EF4-FFF2-40B4-BE49-F238E27FC236}">
                <a16:creationId xmlns:a16="http://schemas.microsoft.com/office/drawing/2014/main" id="{8073D51B-9A5D-D5B0-A9C8-127394EF8FD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862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2B407C3A-71AF-0EDC-0891-744D27C26F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465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407C3A-71AF-0EDC-0891-744D27C26F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vert="horz" rIns="0" bIns="0" anchor="t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head size 32 pt, in case of single line heading, move subhead to the orange grid lin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06F1771-7F4C-385E-3CEA-5F6E1868100D}"/>
              </a:ext>
            </a:extLst>
          </p:cNvPr>
          <p:cNvSpPr txBox="1">
            <a:spLocks/>
          </p:cNvSpPr>
          <p:nvPr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99572538-8795-CFB5-E7E1-D2E79472B3B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1279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  <p15:guide id="8" orient="horz" pos="1684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6482FFF-2458-7106-44C8-0CB853E8FD29}"/>
              </a:ext>
            </a:extLst>
          </p:cNvPr>
          <p:cNvGraphicFramePr>
            <a:graphicFrameLocks noGrp="1" noDrilldown="1" noChangeAspect="1" noMove="1" noResize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6263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482FFF-2458-7106-44C8-0CB853E8FD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vert="horz" rIns="0" bIns="0" anchor="t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size 2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65CB53B-B792-2FC8-7A3F-BB23EE94F7AF}"/>
              </a:ext>
            </a:extLst>
          </p:cNvPr>
          <p:cNvSpPr txBox="1"/>
          <p:nvPr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97B2C471-DE09-4112-F160-69EA0A12290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4708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2A1EF18-0A82-F75C-59B8-BC8FEAE336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3931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A1EF18-0A82-F75C-59B8-BC8FEAE336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vert="horz" wrap="square" rIns="0" bIns="0" anchor="t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size 1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9AA2DC6C-0B85-F038-7717-917288F2F245}"/>
              </a:ext>
            </a:extLst>
          </p:cNvPr>
          <p:cNvSpPr txBox="1"/>
          <p:nvPr/>
        </p:nvSpPr>
        <p:spPr>
          <a:xfrm>
            <a:off x="411163" y="1106687"/>
            <a:ext cx="25987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buClr>
                <a:schemeClr val="accent1"/>
              </a:buClr>
            </a:pPr>
            <a:r>
              <a:rPr lang="en-US" sz="2000" b="1" dirty="0">
                <a:solidFill>
                  <a:srgbClr val="00C1B6"/>
                </a:solidFill>
                <a:latin typeface="+mn-lt"/>
              </a:rPr>
              <a:t>SIEMENS ADVANTA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pic>
        <p:nvPicPr>
          <p:cNvPr id="2" name="Siemens Logo" descr="Siemens logo">
            <a:extLst>
              <a:ext uri="{FF2B5EF4-FFF2-40B4-BE49-F238E27FC236}">
                <a16:creationId xmlns:a16="http://schemas.microsoft.com/office/drawing/2014/main" id="{EE5A9F5C-4B25-ECC0-86B1-819B3E15472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1046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3" name="Siemens Logo" descr="Siemens logo">
            <a:extLst>
              <a:ext uri="{FF2B5EF4-FFF2-40B4-BE49-F238E27FC236}">
                <a16:creationId xmlns:a16="http://schemas.microsoft.com/office/drawing/2014/main" id="{2AD4CAC3-095B-D636-B66D-245F9B345B3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002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794" userDrawn="1">
          <p15:clr>
            <a:srgbClr val="65CEFF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3" name="Siemens Logo" descr="Siemens logo">
            <a:extLst>
              <a:ext uri="{FF2B5EF4-FFF2-40B4-BE49-F238E27FC236}">
                <a16:creationId xmlns:a16="http://schemas.microsoft.com/office/drawing/2014/main" id="{8CB5BA34-320B-B65E-FD12-94C0D0AE01D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9864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image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B532776-2B96-D606-0626-5514B2A91A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4346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532776-2B96-D606-0626-5514B2A91A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9D29AE8C-B62E-87BE-CD53-940B067852B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301260" y="0"/>
            <a:ext cx="6890740" cy="6858000"/>
          </a:xfrm>
          <a:custGeom>
            <a:avLst/>
            <a:gdLst>
              <a:gd name="connsiteX0" fmla="*/ 2565370 w 6890740"/>
              <a:gd name="connsiteY0" fmla="*/ 0 h 6858000"/>
              <a:gd name="connsiteX1" fmla="*/ 6890740 w 6890740"/>
              <a:gd name="connsiteY1" fmla="*/ 0 h 6858000"/>
              <a:gd name="connsiteX2" fmla="*/ 6890740 w 6890740"/>
              <a:gd name="connsiteY2" fmla="*/ 6858000 h 6858000"/>
              <a:gd name="connsiteX3" fmla="*/ 0 w 689074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90740" h="6858000">
                <a:moveTo>
                  <a:pt x="2565370" y="0"/>
                </a:moveTo>
                <a:lnTo>
                  <a:pt x="6890740" y="0"/>
                </a:lnTo>
                <a:lnTo>
                  <a:pt x="689074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9999A9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5903912" cy="5760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0"/>
            </a:lvl3pPr>
            <a:lvl4pPr marL="0" indent="0">
              <a:spcAft>
                <a:spcPts val="600"/>
              </a:spcAft>
              <a:buClr>
                <a:schemeClr val="tx1"/>
              </a:buClr>
              <a:buNone/>
              <a:tabLst>
                <a:tab pos="5902325" algn="r"/>
              </a:tabLst>
              <a:defRPr sz="1600"/>
            </a:lvl4pPr>
            <a:lvl5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0"/>
            </a:lvl5pPr>
            <a:lvl6pPr marL="360000" indent="-18000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5902325" algn="r"/>
              </a:tabLst>
              <a:defRPr sz="1600"/>
            </a:lvl6pPr>
            <a:lvl7pPr marL="0" indent="0">
              <a:spcAft>
                <a:spcPts val="600"/>
              </a:spcAft>
              <a:buClr>
                <a:schemeClr val="tx1"/>
              </a:buClr>
              <a:buNone/>
              <a:tabLst>
                <a:tab pos="5902325" algn="r"/>
              </a:tabLst>
              <a:defRPr sz="1400" b="0"/>
            </a:lvl7pPr>
            <a:lvl8pPr marL="180000" indent="-18000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5902325" algn="r"/>
              </a:tabLst>
              <a:defRPr sz="14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400" b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18" name="Siemens Logo">
            <a:extLst>
              <a:ext uri="{FF2B5EF4-FFF2-40B4-BE49-F238E27FC236}">
                <a16:creationId xmlns:a16="http://schemas.microsoft.com/office/drawing/2014/main" id="{7D7EFD2C-7425-FB08-8812-60BD54E1D22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10635188" y="6418800"/>
            <a:ext cx="1152000" cy="183168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9441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image Sa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B532776-2B96-D606-0626-5514B2A91A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4983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532776-2B96-D606-0626-5514B2A91A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9D29AE8C-B62E-87BE-CD53-940B067852B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301260" y="0"/>
            <a:ext cx="6890740" cy="6858000"/>
          </a:xfrm>
          <a:custGeom>
            <a:avLst/>
            <a:gdLst>
              <a:gd name="connsiteX0" fmla="*/ 2565370 w 6890740"/>
              <a:gd name="connsiteY0" fmla="*/ 0 h 6858000"/>
              <a:gd name="connsiteX1" fmla="*/ 6890740 w 6890740"/>
              <a:gd name="connsiteY1" fmla="*/ 0 h 6858000"/>
              <a:gd name="connsiteX2" fmla="*/ 6890740 w 6890740"/>
              <a:gd name="connsiteY2" fmla="*/ 6858000 h 6858000"/>
              <a:gd name="connsiteX3" fmla="*/ 0 w 689074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90740" h="6858000">
                <a:moveTo>
                  <a:pt x="2565370" y="0"/>
                </a:moveTo>
                <a:lnTo>
                  <a:pt x="6890740" y="0"/>
                </a:lnTo>
                <a:lnTo>
                  <a:pt x="689074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9999A9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5903912" cy="576000"/>
          </a:xfrm>
        </p:spPr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>
                <a:solidFill>
                  <a:schemeClr val="bg1"/>
                </a:solidFill>
              </a:defRPr>
            </a:lvl1pPr>
            <a:lvl2pPr>
              <a:spcAft>
                <a:spcPts val="900"/>
              </a:spcAft>
              <a:buClr>
                <a:schemeClr val="accent1"/>
              </a:buClr>
              <a:tabLst>
                <a:tab pos="5902325" algn="r"/>
              </a:tabLst>
              <a:defRPr>
                <a:solidFill>
                  <a:schemeClr val="bg1"/>
                </a:solidFill>
              </a:defRPr>
            </a:lvl2pPr>
            <a:lvl3pPr marL="360000">
              <a:spcAft>
                <a:spcPts val="900"/>
              </a:spcAft>
              <a:buClr>
                <a:schemeClr val="accent1"/>
              </a:buClr>
              <a:tabLst>
                <a:tab pos="5902325" algn="r"/>
              </a:tabLst>
              <a:defRPr b="0">
                <a:solidFill>
                  <a:schemeClr val="bg1"/>
                </a:solidFill>
              </a:defRPr>
            </a:lvl3pPr>
            <a:lvl4pPr marL="0" indent="0">
              <a:spcAft>
                <a:spcPts val="600"/>
              </a:spcAft>
              <a:buClr>
                <a:schemeClr val="accent1"/>
              </a:buClr>
              <a:buNone/>
              <a:tabLst>
                <a:tab pos="5902325" algn="r"/>
              </a:tabLst>
              <a:defRPr sz="1600" b="0">
                <a:solidFill>
                  <a:schemeClr val="bg1"/>
                </a:solidFill>
              </a:defRPr>
            </a:lvl4pPr>
            <a:lvl5pPr marL="180000">
              <a:spcAft>
                <a:spcPts val="600"/>
              </a:spcAft>
              <a:buClr>
                <a:schemeClr val="accent1"/>
              </a:buClr>
              <a:tabLst>
                <a:tab pos="5902325" algn="r"/>
              </a:tabLst>
              <a:defRPr sz="1600" b="0">
                <a:solidFill>
                  <a:schemeClr val="bg1"/>
                </a:solidFill>
              </a:defRPr>
            </a:lvl5pPr>
            <a:lvl6pPr marL="360000" indent="-180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5902325" algn="r"/>
              </a:tabLst>
              <a:defRPr sz="1600" b="0">
                <a:solidFill>
                  <a:schemeClr val="bg1"/>
                </a:solidFill>
              </a:defRPr>
            </a:lvl6pPr>
            <a:lvl7pPr marL="0" indent="0">
              <a:spcAft>
                <a:spcPts val="600"/>
              </a:spcAft>
              <a:buClr>
                <a:schemeClr val="accent1"/>
              </a:buClr>
              <a:buNone/>
              <a:tabLst>
                <a:tab pos="5902325" algn="r"/>
              </a:tabLst>
              <a:defRPr sz="1400" b="0">
                <a:solidFill>
                  <a:schemeClr val="bg1"/>
                </a:solidFill>
              </a:defRPr>
            </a:lvl7pPr>
            <a:lvl8pPr marL="180000" indent="-180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5902325" algn="r"/>
              </a:tabLst>
              <a:defRPr sz="1400" b="0">
                <a:solidFill>
                  <a:schemeClr val="bg1"/>
                </a:solidFill>
              </a:defRPr>
            </a:lvl8pPr>
            <a:lvl9pPr marL="360000">
              <a:spcAft>
                <a:spcPts val="600"/>
              </a:spcAft>
              <a:buClr>
                <a:schemeClr val="accent1"/>
              </a:buClr>
              <a:tabLst>
                <a:tab pos="5902325" algn="r"/>
              </a:tabLst>
              <a:defRPr sz="14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18" name="Siemens Logo">
            <a:extLst>
              <a:ext uri="{FF2B5EF4-FFF2-40B4-BE49-F238E27FC236}">
                <a16:creationId xmlns:a16="http://schemas.microsoft.com/office/drawing/2014/main" id="{7D7EFD2C-7425-FB08-8812-60BD54E1D22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10635188" y="6418800"/>
            <a:ext cx="1152000" cy="183168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98638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33613854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image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B532776-2B96-D606-0626-5514B2A91A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4983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532776-2B96-D606-0626-5514B2A91A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9D29AE8C-B62E-87BE-CD53-940B067852B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301260" y="0"/>
            <a:ext cx="6890740" cy="6858000"/>
          </a:xfrm>
          <a:custGeom>
            <a:avLst/>
            <a:gdLst>
              <a:gd name="connsiteX0" fmla="*/ 2565370 w 6890740"/>
              <a:gd name="connsiteY0" fmla="*/ 0 h 6858000"/>
              <a:gd name="connsiteX1" fmla="*/ 6890740 w 6890740"/>
              <a:gd name="connsiteY1" fmla="*/ 0 h 6858000"/>
              <a:gd name="connsiteX2" fmla="*/ 6890740 w 6890740"/>
              <a:gd name="connsiteY2" fmla="*/ 6858000 h 6858000"/>
              <a:gd name="connsiteX3" fmla="*/ 0 w 689074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90740" h="6858000">
                <a:moveTo>
                  <a:pt x="2565370" y="0"/>
                </a:moveTo>
                <a:lnTo>
                  <a:pt x="6890740" y="0"/>
                </a:lnTo>
                <a:lnTo>
                  <a:pt x="689074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9999A9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5903912" cy="576000"/>
          </a:xfrm>
        </p:spPr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>
                <a:solidFill>
                  <a:schemeClr val="bg1"/>
                </a:solidFill>
              </a:defRPr>
            </a:lvl1pPr>
            <a:lvl2pPr>
              <a:spcAft>
                <a:spcPts val="900"/>
              </a:spcAft>
              <a:buClr>
                <a:schemeClr val="accent1"/>
              </a:buClr>
              <a:tabLst>
                <a:tab pos="5902325" algn="r"/>
              </a:tabLst>
              <a:defRPr>
                <a:solidFill>
                  <a:schemeClr val="bg1"/>
                </a:solidFill>
              </a:defRPr>
            </a:lvl2pPr>
            <a:lvl3pPr marL="360000">
              <a:spcAft>
                <a:spcPts val="900"/>
              </a:spcAft>
              <a:buClr>
                <a:schemeClr val="accent1"/>
              </a:buClr>
              <a:tabLst>
                <a:tab pos="5902325" algn="r"/>
              </a:tabLst>
              <a:defRPr b="0">
                <a:solidFill>
                  <a:schemeClr val="bg1"/>
                </a:solidFill>
              </a:defRPr>
            </a:lvl3pPr>
            <a:lvl4pPr marL="0" indent="0">
              <a:spcAft>
                <a:spcPts val="600"/>
              </a:spcAft>
              <a:buClr>
                <a:schemeClr val="accent1"/>
              </a:buClr>
              <a:buNone/>
              <a:tabLst>
                <a:tab pos="5902325" algn="r"/>
              </a:tabLst>
              <a:defRPr sz="1600" b="0">
                <a:solidFill>
                  <a:schemeClr val="bg1"/>
                </a:solidFill>
              </a:defRPr>
            </a:lvl4pPr>
            <a:lvl5pPr marL="180000">
              <a:spcAft>
                <a:spcPts val="600"/>
              </a:spcAft>
              <a:buClr>
                <a:schemeClr val="accent1"/>
              </a:buClr>
              <a:tabLst>
                <a:tab pos="5902325" algn="r"/>
              </a:tabLst>
              <a:defRPr sz="1600" b="0">
                <a:solidFill>
                  <a:schemeClr val="bg1"/>
                </a:solidFill>
              </a:defRPr>
            </a:lvl5pPr>
            <a:lvl6pPr marL="360000" indent="-180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5902325" algn="r"/>
              </a:tabLst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600"/>
              </a:spcAft>
              <a:buClr>
                <a:schemeClr val="accent1"/>
              </a:buClr>
              <a:buNone/>
              <a:tabLst>
                <a:tab pos="5902325" algn="r"/>
              </a:tabLst>
              <a:defRPr sz="1400" b="0">
                <a:solidFill>
                  <a:schemeClr val="bg1"/>
                </a:solidFill>
              </a:defRPr>
            </a:lvl7pPr>
            <a:lvl8pPr marL="180000" indent="-18000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5902325" algn="r"/>
              </a:tabLst>
              <a:defRPr sz="1400" b="0">
                <a:solidFill>
                  <a:schemeClr val="bg1"/>
                </a:solidFill>
              </a:defRPr>
            </a:lvl8pPr>
            <a:lvl9pPr marL="360000">
              <a:spcAft>
                <a:spcPts val="600"/>
              </a:spcAft>
              <a:buClr>
                <a:schemeClr val="accent1"/>
              </a:buClr>
              <a:tabLst>
                <a:tab pos="5902325" algn="r"/>
              </a:tabLst>
              <a:defRPr sz="14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18" name="Siemens Logo">
            <a:extLst>
              <a:ext uri="{FF2B5EF4-FFF2-40B4-BE49-F238E27FC236}">
                <a16:creationId xmlns:a16="http://schemas.microsoft.com/office/drawing/2014/main" id="{7D7EFD2C-7425-FB08-8812-60BD54E1D22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10635188" y="6418800"/>
            <a:ext cx="1152000" cy="183168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94145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3" name="Siemens Logo" descr="Siemens logo">
            <a:extLst>
              <a:ext uri="{FF2B5EF4-FFF2-40B4-BE49-F238E27FC236}">
                <a16:creationId xmlns:a16="http://schemas.microsoft.com/office/drawing/2014/main" id="{FA90450F-D455-A6D8-4E77-47258DEA4F6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947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9" pos="259" userDrawn="1">
          <p15:clr>
            <a:srgbClr val="65CEFF"/>
          </p15:clr>
        </p15:guide>
        <p15:guide id="20" pos="2526" userDrawn="1">
          <p15:clr>
            <a:srgbClr val="65CEFF"/>
          </p15:clr>
        </p15:guide>
        <p15:guide id="21" pos="2708" userDrawn="1">
          <p15:clr>
            <a:srgbClr val="65CEFF"/>
          </p15:clr>
        </p15:guide>
        <p15:guide id="22" pos="3705" userDrawn="1">
          <p15:clr>
            <a:srgbClr val="65CEFF"/>
          </p15:clr>
        </p15:guide>
        <p15:guide id="23" pos="3978" userDrawn="1">
          <p15:clr>
            <a:srgbClr val="65CEFF"/>
          </p15:clr>
        </p15:guide>
        <p15:guide id="24" pos="4975" userDrawn="1">
          <p15:clr>
            <a:srgbClr val="65CEFF"/>
          </p15:clr>
        </p15:guide>
        <p15:guide id="25" pos="5157" userDrawn="1">
          <p15:clr>
            <a:srgbClr val="65CEFF"/>
          </p15:clr>
        </p15:guide>
        <p15:guide id="26" pos="6472" userDrawn="1">
          <p15:clr>
            <a:srgbClr val="65CEFF"/>
          </p15:clr>
        </p15:guide>
        <p15:guide id="27" pos="7425" userDrawn="1">
          <p15:clr>
            <a:srgbClr val="65CEFF"/>
          </p15:clr>
        </p15:guide>
        <p15:guide id="28" orient="horz" pos="302" userDrawn="1">
          <p15:clr>
            <a:srgbClr val="65CEFF"/>
          </p15:clr>
        </p15:guide>
        <p15:guide id="29" orient="horz" pos="664" userDrawn="1">
          <p15:clr>
            <a:srgbClr val="65CEFF"/>
          </p15:clr>
        </p15:guide>
        <p15:guide id="30" orient="horz" pos="891" userDrawn="1">
          <p15:clr>
            <a:srgbClr val="65CEFF"/>
          </p15:clr>
        </p15:guide>
        <p15:guide id="31" orient="horz" pos="2206" userDrawn="1">
          <p15:clr>
            <a:srgbClr val="65CEFF"/>
          </p15:clr>
        </p15:guide>
        <p15:guide id="32" orient="horz" pos="2343" userDrawn="1">
          <p15:clr>
            <a:srgbClr val="65CEFF"/>
          </p15:clr>
        </p15:guide>
        <p15:guide id="33" orient="horz" pos="3658" userDrawn="1">
          <p15:clr>
            <a:srgbClr val="65CEFF"/>
          </p15:clr>
        </p15:guide>
        <p15:guide id="34" orient="horz" pos="3885" userDrawn="1">
          <p15:clr>
            <a:srgbClr val="65CEFF"/>
          </p15:clr>
        </p15:guide>
        <p15:guide id="35" orient="horz" pos="4157" userDrawn="1">
          <p15:clr>
            <a:srgbClr val="65CEFF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3" name="Siemens Logo" descr="Siemens logo">
            <a:extLst>
              <a:ext uri="{FF2B5EF4-FFF2-40B4-BE49-F238E27FC236}">
                <a16:creationId xmlns:a16="http://schemas.microsoft.com/office/drawing/2014/main" id="{6093DF13-FB10-FD5C-96E5-E7076DFF61B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932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9" pos="259" userDrawn="1">
          <p15:clr>
            <a:srgbClr val="65CEFF"/>
          </p15:clr>
        </p15:guide>
        <p15:guide id="20" pos="6472" userDrawn="1">
          <p15:clr>
            <a:srgbClr val="65CEFF"/>
          </p15:clr>
        </p15:guide>
        <p15:guide id="21" pos="7425" userDrawn="1">
          <p15:clr>
            <a:srgbClr val="65CEFF"/>
          </p15:clr>
        </p15:guide>
        <p15:guide id="22" orient="horz" pos="664" userDrawn="1">
          <p15:clr>
            <a:srgbClr val="65CEFF"/>
          </p15:clr>
        </p15:guide>
        <p15:guide id="23" orient="horz" pos="3885" userDrawn="1">
          <p15:clr>
            <a:srgbClr val="65CEFF"/>
          </p15:clr>
        </p15:guide>
        <p15:guide id="24" orient="horz" pos="4157" userDrawn="1">
          <p15:clr>
            <a:srgbClr val="65CEFF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3" name="Siemens Logo" descr="Siemens logo">
            <a:extLst>
              <a:ext uri="{FF2B5EF4-FFF2-40B4-BE49-F238E27FC236}">
                <a16:creationId xmlns:a16="http://schemas.microsoft.com/office/drawing/2014/main" id="{9DB07C59-47E3-094D-5D6E-DB93D8DA271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7305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9" pos="259" userDrawn="1">
          <p15:clr>
            <a:srgbClr val="65CEFF"/>
          </p15:clr>
        </p15:guide>
        <p15:guide id="20" pos="6472" userDrawn="1">
          <p15:clr>
            <a:srgbClr val="65CEFF"/>
          </p15:clr>
        </p15:guide>
        <p15:guide id="21" pos="7425" userDrawn="1">
          <p15:clr>
            <a:srgbClr val="65CEFF"/>
          </p15:clr>
        </p15:guide>
        <p15:guide id="22" orient="horz" pos="664" userDrawn="1">
          <p15:clr>
            <a:srgbClr val="65CEFF"/>
          </p15:clr>
        </p15:guide>
        <p15:guide id="23" orient="horz" pos="3885" userDrawn="1">
          <p15:clr>
            <a:srgbClr val="65CEFF"/>
          </p15:clr>
        </p15:guide>
        <p15:guide id="24" orient="horz" pos="4157" userDrawn="1">
          <p15:clr>
            <a:srgbClr val="65CEFF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image (Text spotlight) 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C24F436D-0A4B-9F58-F175-5826DA3114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0209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4F436D-0A4B-9F58-F175-5826DA3114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>
            <a:extLst>
              <a:ext uri="{FF2B5EF4-FFF2-40B4-BE49-F238E27FC236}">
                <a16:creationId xmlns:a16="http://schemas.microsoft.com/office/drawing/2014/main" id="{9DD66560-C769-8BE8-6D56-B05C3E736623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12192000" cy="6167438"/>
          </a:xfrm>
          <a:prstGeom prst="rect">
            <a:avLst/>
          </a:prstGeom>
          <a:solidFill>
            <a:srgbClr val="00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vert="horz"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79524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image (Text spotlight)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6D4BFF-F493-E52F-A8D3-E561FD6062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2217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6D4BFF-F493-E52F-A8D3-E561FD6062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A65988D2-09E5-E17F-45C5-DC8F1C779C51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12192000" cy="61674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vert="horz"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167788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67468AA-9FF6-CDCE-9EC1-2E329A0C6A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8581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7468AA-9FF6-CDCE-9EC1-2E329A0C6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9FD6A285-F89A-1F9C-190A-C570F0C13E50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12192000" cy="61674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vert="horz"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D8726439-BF18-7229-83D9-140F29A97A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137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9" userDrawn="1">
          <p15:clr>
            <a:srgbClr val="65CEFF"/>
          </p15:clr>
        </p15:guide>
        <p15:guide id="14" pos="4522" userDrawn="1">
          <p15:clr>
            <a:srgbClr val="65CEFF"/>
          </p15:clr>
        </p15:guide>
        <p15:guide id="15" pos="4794" userDrawn="1">
          <p15:clr>
            <a:srgbClr val="65CEFF"/>
          </p15:clr>
        </p15:guide>
        <p15:guide id="16" pos="5066" userDrawn="1">
          <p15:clr>
            <a:srgbClr val="65CEFF"/>
          </p15:clr>
        </p15:guide>
        <p15:guide id="17" pos="6472" userDrawn="1">
          <p15:clr>
            <a:srgbClr val="65CEFF"/>
          </p15:clr>
        </p15:guide>
        <p15:guide id="18" pos="7425" userDrawn="1">
          <p15:clr>
            <a:srgbClr val="65CEFF"/>
          </p15:clr>
        </p15:guide>
        <p15:guide id="19" orient="horz" pos="302" userDrawn="1">
          <p15:clr>
            <a:srgbClr val="65CEFF"/>
          </p15:clr>
        </p15:guide>
        <p15:guide id="20" orient="horz" pos="664" userDrawn="1">
          <p15:clr>
            <a:srgbClr val="65CEFF"/>
          </p15:clr>
        </p15:guide>
        <p15:guide id="21" orient="horz" pos="891" userDrawn="1">
          <p15:clr>
            <a:srgbClr val="65CEFF"/>
          </p15:clr>
        </p15:guide>
        <p15:guide id="22" orient="horz" pos="3658" userDrawn="1">
          <p15:clr>
            <a:srgbClr val="65CEFF"/>
          </p15:clr>
        </p15:guide>
        <p15:guide id="23" orient="horz" pos="3885" userDrawn="1">
          <p15:clr>
            <a:srgbClr val="65CEFF"/>
          </p15:clr>
        </p15:guide>
        <p15:guide id="24" orient="horz" pos="4157" userDrawn="1">
          <p15:clr>
            <a:srgbClr val="65CEFF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3" name="Siemens Logo" descr="Siemens logo">
            <a:extLst>
              <a:ext uri="{FF2B5EF4-FFF2-40B4-BE49-F238E27FC236}">
                <a16:creationId xmlns:a16="http://schemas.microsoft.com/office/drawing/2014/main" id="{174C64FE-5BFC-A85A-E139-08D6217B312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3707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9" pos="259" userDrawn="1">
          <p15:clr>
            <a:srgbClr val="65CEFF"/>
          </p15:clr>
        </p15:guide>
        <p15:guide id="20" pos="2526" userDrawn="1">
          <p15:clr>
            <a:srgbClr val="65CEFF"/>
          </p15:clr>
        </p15:guide>
        <p15:guide id="21" pos="2708" userDrawn="1">
          <p15:clr>
            <a:srgbClr val="65CEFF"/>
          </p15:clr>
        </p15:guide>
        <p15:guide id="22" pos="3705" userDrawn="1">
          <p15:clr>
            <a:srgbClr val="65CEFF"/>
          </p15:clr>
        </p15:guide>
        <p15:guide id="23" pos="3978" userDrawn="1">
          <p15:clr>
            <a:srgbClr val="65CEFF"/>
          </p15:clr>
        </p15:guide>
        <p15:guide id="24" pos="4975" userDrawn="1">
          <p15:clr>
            <a:srgbClr val="65CEFF"/>
          </p15:clr>
        </p15:guide>
        <p15:guide id="25" pos="5157" userDrawn="1">
          <p15:clr>
            <a:srgbClr val="65CEFF"/>
          </p15:clr>
        </p15:guide>
        <p15:guide id="26" pos="6472" userDrawn="1">
          <p15:clr>
            <a:srgbClr val="65CEFF"/>
          </p15:clr>
        </p15:guide>
        <p15:guide id="27" pos="7425" userDrawn="1">
          <p15:clr>
            <a:srgbClr val="65CEFF"/>
          </p15:clr>
        </p15:guide>
        <p15:guide id="28" orient="horz" pos="302" userDrawn="1">
          <p15:clr>
            <a:srgbClr val="65CEFF"/>
          </p15:clr>
        </p15:guide>
        <p15:guide id="29" orient="horz" pos="664" userDrawn="1">
          <p15:clr>
            <a:srgbClr val="65CEFF"/>
          </p15:clr>
        </p15:guide>
        <p15:guide id="30" orient="horz" pos="891" userDrawn="1">
          <p15:clr>
            <a:srgbClr val="65CEFF"/>
          </p15:clr>
        </p15:guide>
        <p15:guide id="31" orient="horz" pos="2206" userDrawn="1">
          <p15:clr>
            <a:srgbClr val="65CEFF"/>
          </p15:clr>
        </p15:guide>
        <p15:guide id="32" orient="horz" pos="2343" userDrawn="1">
          <p15:clr>
            <a:srgbClr val="65CEFF"/>
          </p15:clr>
        </p15:guide>
        <p15:guide id="33" orient="horz" pos="3658" userDrawn="1">
          <p15:clr>
            <a:srgbClr val="65CEFF"/>
          </p15:clr>
        </p15:guide>
        <p15:guide id="34" orient="horz" pos="3885" userDrawn="1">
          <p15:clr>
            <a:srgbClr val="65CEFF"/>
          </p15:clr>
        </p15:guide>
        <p15:guide id="35" orient="horz" pos="4157" userDrawn="1">
          <p15:clr>
            <a:srgbClr val="65CEFF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3" name="Siemens Logo" descr="Siemens logo">
            <a:extLst>
              <a:ext uri="{FF2B5EF4-FFF2-40B4-BE49-F238E27FC236}">
                <a16:creationId xmlns:a16="http://schemas.microsoft.com/office/drawing/2014/main" id="{D88DB529-AB4E-458C-1BDE-F600E481B7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514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9" pos="259" userDrawn="1">
          <p15:clr>
            <a:srgbClr val="65CEFF"/>
          </p15:clr>
        </p15:guide>
        <p15:guide id="20" pos="2526" userDrawn="1">
          <p15:clr>
            <a:srgbClr val="65CEFF"/>
          </p15:clr>
        </p15:guide>
        <p15:guide id="21" pos="2708" userDrawn="1">
          <p15:clr>
            <a:srgbClr val="65CEFF"/>
          </p15:clr>
        </p15:guide>
        <p15:guide id="22" pos="3705" userDrawn="1">
          <p15:clr>
            <a:srgbClr val="65CEFF"/>
          </p15:clr>
        </p15:guide>
        <p15:guide id="23" pos="3978" userDrawn="1">
          <p15:clr>
            <a:srgbClr val="65CEFF"/>
          </p15:clr>
        </p15:guide>
        <p15:guide id="24" pos="4975" userDrawn="1">
          <p15:clr>
            <a:srgbClr val="65CEFF"/>
          </p15:clr>
        </p15:guide>
        <p15:guide id="25" pos="5157" userDrawn="1">
          <p15:clr>
            <a:srgbClr val="65CEFF"/>
          </p15:clr>
        </p15:guide>
        <p15:guide id="26" pos="6472" userDrawn="1">
          <p15:clr>
            <a:srgbClr val="65CEFF"/>
          </p15:clr>
        </p15:guide>
        <p15:guide id="27" pos="7425" userDrawn="1">
          <p15:clr>
            <a:srgbClr val="65CEFF"/>
          </p15:clr>
        </p15:guide>
        <p15:guide id="28" orient="horz" pos="302" userDrawn="1">
          <p15:clr>
            <a:srgbClr val="65CEFF"/>
          </p15:clr>
        </p15:guide>
        <p15:guide id="29" orient="horz" pos="664" userDrawn="1">
          <p15:clr>
            <a:srgbClr val="65CEFF"/>
          </p15:clr>
        </p15:guide>
        <p15:guide id="30" orient="horz" pos="891" userDrawn="1">
          <p15:clr>
            <a:srgbClr val="65CEFF"/>
          </p15:clr>
        </p15:guide>
        <p15:guide id="31" orient="horz" pos="2206" userDrawn="1">
          <p15:clr>
            <a:srgbClr val="65CEFF"/>
          </p15:clr>
        </p15:guide>
        <p15:guide id="32" orient="horz" pos="2343" userDrawn="1">
          <p15:clr>
            <a:srgbClr val="65CEFF"/>
          </p15:clr>
        </p15:guide>
        <p15:guide id="33" orient="horz" pos="3658" userDrawn="1">
          <p15:clr>
            <a:srgbClr val="65CEFF"/>
          </p15:clr>
        </p15:guide>
        <p15:guide id="34" orient="horz" pos="3885" userDrawn="1">
          <p15:clr>
            <a:srgbClr val="65CEFF"/>
          </p15:clr>
        </p15:guide>
        <p15:guide id="35" orient="horz" pos="4157" userDrawn="1">
          <p15:clr>
            <a:srgbClr val="65CEFF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pic>
        <p:nvPicPr>
          <p:cNvPr id="2" name="Siemens Logo" descr="Siemens logo">
            <a:extLst>
              <a:ext uri="{FF2B5EF4-FFF2-40B4-BE49-F238E27FC236}">
                <a16:creationId xmlns:a16="http://schemas.microsoft.com/office/drawing/2014/main" id="{8A5ED44D-0E04-DB40-4B7D-7E2068BF919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921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259" userDrawn="1">
          <p15:clr>
            <a:srgbClr val="65CEFF"/>
          </p15:clr>
        </p15:guide>
        <p15:guide id="12" pos="4794" userDrawn="1">
          <p15:clr>
            <a:srgbClr val="65CEFF"/>
          </p15:clr>
        </p15:guide>
        <p15:guide id="13" pos="6472" userDrawn="1">
          <p15:clr>
            <a:srgbClr val="65CEFF"/>
          </p15:clr>
        </p15:guide>
        <p15:guide id="14" pos="7425" userDrawn="1">
          <p15:clr>
            <a:srgbClr val="65CEFF"/>
          </p15:clr>
        </p15:guide>
        <p15:guide id="15" orient="horz" pos="302" userDrawn="1">
          <p15:clr>
            <a:srgbClr val="65CEFF"/>
          </p15:clr>
        </p15:guide>
        <p15:guide id="16" orient="horz" pos="664" userDrawn="1">
          <p15:clr>
            <a:srgbClr val="65CEFF"/>
          </p15:clr>
        </p15:guide>
        <p15:guide id="17" orient="horz" pos="891" userDrawn="1">
          <p15:clr>
            <a:srgbClr val="65CEFF"/>
          </p15:clr>
        </p15:guide>
        <p15:guide id="18" orient="horz" pos="3658" userDrawn="1">
          <p15:clr>
            <a:srgbClr val="65CEFF"/>
          </p15:clr>
        </p15:guide>
        <p15:guide id="19" orient="horz" pos="3885" userDrawn="1">
          <p15:clr>
            <a:srgbClr val="65CEFF"/>
          </p15:clr>
        </p15:guide>
        <p15:guide id="20" orient="horz" pos="4157" userDrawn="1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.xml"/><Relationship Id="rId71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26" Type="http://schemas.openxmlformats.org/officeDocument/2006/relationships/slideLayout" Target="../slideLayouts/slideLayout96.xml"/><Relationship Id="rId39" Type="http://schemas.openxmlformats.org/officeDocument/2006/relationships/slideLayout" Target="../slideLayouts/slideLayout109.xml"/><Relationship Id="rId21" Type="http://schemas.openxmlformats.org/officeDocument/2006/relationships/slideLayout" Target="../slideLayouts/slideLayout91.xml"/><Relationship Id="rId34" Type="http://schemas.openxmlformats.org/officeDocument/2006/relationships/slideLayout" Target="../slideLayouts/slideLayout104.xml"/><Relationship Id="rId42" Type="http://schemas.openxmlformats.org/officeDocument/2006/relationships/slideLayout" Target="../slideLayouts/slideLayout112.xml"/><Relationship Id="rId47" Type="http://schemas.openxmlformats.org/officeDocument/2006/relationships/slideLayout" Target="../slideLayouts/slideLayout117.xml"/><Relationship Id="rId50" Type="http://schemas.openxmlformats.org/officeDocument/2006/relationships/tags" Target="../tags/tag1.xml"/><Relationship Id="rId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9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81.xml"/><Relationship Id="rId24" Type="http://schemas.openxmlformats.org/officeDocument/2006/relationships/slideLayout" Target="../slideLayouts/slideLayout94.xml"/><Relationship Id="rId32" Type="http://schemas.openxmlformats.org/officeDocument/2006/relationships/slideLayout" Target="../slideLayouts/slideLayout102.xml"/><Relationship Id="rId37" Type="http://schemas.openxmlformats.org/officeDocument/2006/relationships/slideLayout" Target="../slideLayouts/slideLayout107.xml"/><Relationship Id="rId40" Type="http://schemas.openxmlformats.org/officeDocument/2006/relationships/slideLayout" Target="../slideLayouts/slideLayout110.xml"/><Relationship Id="rId45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23" Type="http://schemas.openxmlformats.org/officeDocument/2006/relationships/slideLayout" Target="../slideLayouts/slideLayout93.xml"/><Relationship Id="rId28" Type="http://schemas.openxmlformats.org/officeDocument/2006/relationships/slideLayout" Target="../slideLayouts/slideLayout98.xml"/><Relationship Id="rId36" Type="http://schemas.openxmlformats.org/officeDocument/2006/relationships/slideLayout" Target="../slideLayouts/slideLayout106.xml"/><Relationship Id="rId49" Type="http://schemas.openxmlformats.org/officeDocument/2006/relationships/theme" Target="../theme/theme2.xml"/><Relationship Id="rId10" Type="http://schemas.openxmlformats.org/officeDocument/2006/relationships/slideLayout" Target="../slideLayouts/slideLayout80.xml"/><Relationship Id="rId19" Type="http://schemas.openxmlformats.org/officeDocument/2006/relationships/slideLayout" Target="../slideLayouts/slideLayout89.xml"/><Relationship Id="rId31" Type="http://schemas.openxmlformats.org/officeDocument/2006/relationships/slideLayout" Target="../slideLayouts/slideLayout101.xml"/><Relationship Id="rId44" Type="http://schemas.openxmlformats.org/officeDocument/2006/relationships/slideLayout" Target="../slideLayouts/slideLayout114.xml"/><Relationship Id="rId52" Type="http://schemas.openxmlformats.org/officeDocument/2006/relationships/image" Target="../media/image14.emf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slideLayout" Target="../slideLayouts/slideLayout92.xml"/><Relationship Id="rId27" Type="http://schemas.openxmlformats.org/officeDocument/2006/relationships/slideLayout" Target="../slideLayouts/slideLayout97.xml"/><Relationship Id="rId30" Type="http://schemas.openxmlformats.org/officeDocument/2006/relationships/slideLayout" Target="../slideLayouts/slideLayout100.xml"/><Relationship Id="rId35" Type="http://schemas.openxmlformats.org/officeDocument/2006/relationships/slideLayout" Target="../slideLayouts/slideLayout105.xml"/><Relationship Id="rId43" Type="http://schemas.openxmlformats.org/officeDocument/2006/relationships/slideLayout" Target="../slideLayouts/slideLayout113.xml"/><Relationship Id="rId48" Type="http://schemas.openxmlformats.org/officeDocument/2006/relationships/slideLayout" Target="../slideLayouts/slideLayout118.xml"/><Relationship Id="rId8" Type="http://schemas.openxmlformats.org/officeDocument/2006/relationships/slideLayout" Target="../slideLayouts/slideLayout78.xml"/><Relationship Id="rId51" Type="http://schemas.openxmlformats.org/officeDocument/2006/relationships/oleObject" Target="../embeddings/oleObject1.bin"/><Relationship Id="rId3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5" Type="http://schemas.openxmlformats.org/officeDocument/2006/relationships/slideLayout" Target="../slideLayouts/slideLayout95.xml"/><Relationship Id="rId33" Type="http://schemas.openxmlformats.org/officeDocument/2006/relationships/slideLayout" Target="../slideLayouts/slideLayout103.xml"/><Relationship Id="rId38" Type="http://schemas.openxmlformats.org/officeDocument/2006/relationships/slideLayout" Target="../slideLayouts/slideLayout108.xml"/><Relationship Id="rId4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90.xml"/><Relationship Id="rId41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585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9" r:id="rId2"/>
    <p:sldLayoutId id="2147483720" r:id="rId3"/>
    <p:sldLayoutId id="2147483776" r:id="rId4"/>
    <p:sldLayoutId id="2147483777" r:id="rId5"/>
    <p:sldLayoutId id="2147483778" r:id="rId6"/>
    <p:sldLayoutId id="2147483793" r:id="rId7"/>
    <p:sldLayoutId id="2147483794" r:id="rId8"/>
    <p:sldLayoutId id="2147483795" r:id="rId9"/>
    <p:sldLayoutId id="2147483796" r:id="rId10"/>
    <p:sldLayoutId id="2147483797" r:id="rId11"/>
    <p:sldLayoutId id="2147483798" r:id="rId12"/>
    <p:sldLayoutId id="2147483773" r:id="rId13"/>
    <p:sldLayoutId id="2147483774" r:id="rId14"/>
    <p:sldLayoutId id="2147483775" r:id="rId15"/>
    <p:sldLayoutId id="2147483781" r:id="rId16"/>
    <p:sldLayoutId id="2147483782" r:id="rId17"/>
    <p:sldLayoutId id="2147483783" r:id="rId18"/>
    <p:sldLayoutId id="2147483790" r:id="rId19"/>
    <p:sldLayoutId id="2147483791" r:id="rId20"/>
    <p:sldLayoutId id="2147483792" r:id="rId21"/>
    <p:sldLayoutId id="2147483770" r:id="rId22"/>
    <p:sldLayoutId id="2147483771" r:id="rId23"/>
    <p:sldLayoutId id="2147483772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789" r:id="rId30"/>
    <p:sldLayoutId id="2147483724" r:id="rId31"/>
    <p:sldLayoutId id="2147483725" r:id="rId32"/>
    <p:sldLayoutId id="2147483726" r:id="rId33"/>
    <p:sldLayoutId id="2147483730" r:id="rId34"/>
    <p:sldLayoutId id="2147483731" r:id="rId35"/>
    <p:sldLayoutId id="2147483732" r:id="rId36"/>
    <p:sldLayoutId id="2147483727" r:id="rId37"/>
    <p:sldLayoutId id="2147483728" r:id="rId38"/>
    <p:sldLayoutId id="2147483729" r:id="rId39"/>
    <p:sldLayoutId id="2147483736" r:id="rId40"/>
    <p:sldLayoutId id="2147483737" r:id="rId41"/>
    <p:sldLayoutId id="2147483738" r:id="rId42"/>
    <p:sldLayoutId id="2147483753" r:id="rId43"/>
    <p:sldLayoutId id="2147483754" r:id="rId44"/>
    <p:sldLayoutId id="2147483755" r:id="rId45"/>
    <p:sldLayoutId id="2147483739" r:id="rId46"/>
    <p:sldLayoutId id="2147483740" r:id="rId47"/>
    <p:sldLayoutId id="2147483741" r:id="rId48"/>
    <p:sldLayoutId id="2147483744" r:id="rId49"/>
    <p:sldLayoutId id="2147483756" r:id="rId50"/>
    <p:sldLayoutId id="2147483655" r:id="rId51"/>
    <p:sldLayoutId id="2147483677" r:id="rId52"/>
    <p:sldLayoutId id="2147483779" r:id="rId53"/>
    <p:sldLayoutId id="2147483709" r:id="rId54"/>
    <p:sldLayoutId id="2147483691" r:id="rId55"/>
    <p:sldLayoutId id="2147483692" r:id="rId56"/>
    <p:sldLayoutId id="2147483780" r:id="rId57"/>
    <p:sldLayoutId id="2147483650" r:id="rId58"/>
    <p:sldLayoutId id="2147483665" r:id="rId59"/>
    <p:sldLayoutId id="2147483666" r:id="rId60"/>
    <p:sldLayoutId id="2147483697" r:id="rId61"/>
    <p:sldLayoutId id="2147483698" r:id="rId62"/>
    <p:sldLayoutId id="2147483652" r:id="rId63"/>
    <p:sldLayoutId id="2147483694" r:id="rId64"/>
    <p:sldLayoutId id="2147483687" r:id="rId65"/>
    <p:sldLayoutId id="2147483690" r:id="rId66"/>
    <p:sldLayoutId id="2147483681" r:id="rId67"/>
    <p:sldLayoutId id="2147483682" r:id="rId68"/>
    <p:sldLayoutId id="2147483711" r:id="rId69"/>
    <p:sldLayoutId id="2147483678" r:id="rId70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13A40AC-D250-9FA6-EDE4-35894626ED95}"/>
              </a:ext>
            </a:extLst>
          </p:cNvPr>
          <p:cNvGraphicFramePr>
            <a:graphicFrameLocks noChangeAspect="1"/>
          </p:cNvGraphicFramePr>
          <p:nvPr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1169223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306" imgH="306" progId="TCLayout.ActiveDocument.1">
                  <p:embed/>
                </p:oleObj>
              </mc:Choice>
              <mc:Fallback>
                <p:oleObj name="think-cell Slide" r:id="rId51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3A40AC-D250-9FA6-EDE4-35894626ED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Restricted | © Siemens 2023 | Ferencz Cârnu &amp; George Patrașc | IFA | 2023-06-08</a:t>
            </a:r>
          </a:p>
        </p:txBody>
      </p:sp>
    </p:spTree>
    <p:extLst>
      <p:ext uri="{BB962C8B-B14F-4D97-AF65-F5344CB8AC3E}">
        <p14:creationId xmlns:p14="http://schemas.microsoft.com/office/powerpoint/2010/main" val="3693060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  <p:sldLayoutId id="2147483812" r:id="rId13"/>
    <p:sldLayoutId id="2147483813" r:id="rId14"/>
    <p:sldLayoutId id="2147483814" r:id="rId15"/>
    <p:sldLayoutId id="2147483815" r:id="rId16"/>
    <p:sldLayoutId id="2147483816" r:id="rId17"/>
    <p:sldLayoutId id="2147483817" r:id="rId18"/>
    <p:sldLayoutId id="2147483818" r:id="rId19"/>
    <p:sldLayoutId id="2147483819" r:id="rId20"/>
    <p:sldLayoutId id="2147483820" r:id="rId21"/>
    <p:sldLayoutId id="2147483821" r:id="rId22"/>
    <p:sldLayoutId id="2147483822" r:id="rId23"/>
    <p:sldLayoutId id="2147483823" r:id="rId24"/>
    <p:sldLayoutId id="2147483824" r:id="rId25"/>
    <p:sldLayoutId id="2147483825" r:id="rId26"/>
    <p:sldLayoutId id="2147483826" r:id="rId27"/>
    <p:sldLayoutId id="2147483827" r:id="rId28"/>
    <p:sldLayoutId id="2147483828" r:id="rId29"/>
    <p:sldLayoutId id="2147483829" r:id="rId30"/>
    <p:sldLayoutId id="2147483830" r:id="rId31"/>
    <p:sldLayoutId id="2147483831" r:id="rId32"/>
    <p:sldLayoutId id="2147483832" r:id="rId33"/>
    <p:sldLayoutId id="2147483833" r:id="rId34"/>
    <p:sldLayoutId id="2147483834" r:id="rId35"/>
    <p:sldLayoutId id="2147483835" r:id="rId36"/>
    <p:sldLayoutId id="2147483836" r:id="rId37"/>
    <p:sldLayoutId id="2147483837" r:id="rId38"/>
    <p:sldLayoutId id="2147483838" r:id="rId39"/>
    <p:sldLayoutId id="2147483839" r:id="rId40"/>
    <p:sldLayoutId id="2147483840" r:id="rId41"/>
    <p:sldLayoutId id="2147483841" r:id="rId42"/>
    <p:sldLayoutId id="2147483842" r:id="rId43"/>
    <p:sldLayoutId id="2147483843" r:id="rId44"/>
    <p:sldLayoutId id="2147483844" r:id="rId45"/>
    <p:sldLayoutId id="2147483845" r:id="rId46"/>
    <p:sldLayoutId id="2147483846" r:id="rId47"/>
    <p:sldLayoutId id="2147483847" r:id="rId48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9.xml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0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9.xml"/><Relationship Id="rId2" Type="http://schemas.openxmlformats.org/officeDocument/2006/relationships/video" Target="../media/media3.bin"/><Relationship Id="rId1" Type="http://schemas.microsoft.com/office/2007/relationships/media" Target="../media/media3.bin"/><Relationship Id="rId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19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0.xml"/><Relationship Id="rId6" Type="http://schemas.openxmlformats.org/officeDocument/2006/relationships/image" Target="../media/image170.png"/><Relationship Id="rId5" Type="http://schemas.openxmlformats.org/officeDocument/2006/relationships/customXml" Target="../ink/ink1.xml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21.png"/><Relationship Id="rId7" Type="http://schemas.microsoft.com/office/2007/relationships/hdphoto" Target="../media/hdphoto2.wdp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9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microsoft.com/office/2007/relationships/hdphoto" Target="../media/hdphoto1.wdp"/><Relationship Id="rId9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9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09.xml"/><Relationship Id="rId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9.xml"/><Relationship Id="rId2" Type="http://schemas.openxmlformats.org/officeDocument/2006/relationships/video" Target="../media/media2.bin"/><Relationship Id="rId1" Type="http://schemas.microsoft.com/office/2007/relationships/media" Target="../media/media2.bin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Headline of the presentation">
            <a:extLst>
              <a:ext uri="{FF2B5EF4-FFF2-40B4-BE49-F238E27FC236}">
                <a16:creationId xmlns:a16="http://schemas.microsoft.com/office/drawing/2014/main" id="{DA865AB3-8AE0-4AB0-94C2-2E517EC147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050" y="1582340"/>
            <a:ext cx="12287822" cy="2462213"/>
          </a:xfrm>
        </p:spPr>
        <p:txBody>
          <a:bodyPr/>
          <a:lstStyle/>
          <a:p>
            <a:r>
              <a:rPr lang="en-US" noProof="0" dirty="0" err="1"/>
              <a:t>DiscoverIT</a:t>
            </a:r>
            <a:r>
              <a:rPr lang="en-US" noProof="0" dirty="0"/>
              <a:t> </a:t>
            </a:r>
            <a:r>
              <a:rPr lang="en-US" b="1" dirty="0">
                <a:solidFill>
                  <a:schemeClr val="accent3"/>
                </a:solidFill>
              </a:rPr>
              <a:t>Internship</a:t>
            </a:r>
            <a:r>
              <a:rPr lang="en-US" noProof="0" dirty="0">
                <a:solidFill>
                  <a:schemeClr val="accent2"/>
                </a:solidFill>
              </a:rPr>
              <a:t> </a:t>
            </a:r>
            <a:br>
              <a:rPr lang="en-US" noProof="0" dirty="0"/>
            </a:br>
            <a:r>
              <a:rPr lang="en-US" noProof="0" dirty="0"/>
              <a:t>Detection App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C14414CC-0D3D-4B70-91D9-2F124E04E6B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o-RO" dirty="0"/>
              <a:t>George P</a:t>
            </a:r>
            <a:r>
              <a:rPr lang="en-US" dirty="0"/>
              <a:t>a</a:t>
            </a:r>
            <a:r>
              <a:rPr lang="ro-RO" dirty="0" err="1"/>
              <a:t>trașc</a:t>
            </a:r>
            <a:endParaRPr lang="ro-RO" dirty="0"/>
          </a:p>
          <a:p>
            <a:r>
              <a:rPr lang="ro-RO" dirty="0"/>
              <a:t>Ferencz </a:t>
            </a:r>
            <a:r>
              <a:rPr lang="ro-RO" dirty="0" err="1"/>
              <a:t>Cârnu</a:t>
            </a:r>
            <a:endParaRPr lang="de-DE" dirty="0"/>
          </a:p>
        </p:txBody>
      </p:sp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FDA17C2-CC0D-4A70-A1C4-4DAA44F6477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</p:spTree>
    <p:extLst>
      <p:ext uri="{BB962C8B-B14F-4D97-AF65-F5344CB8AC3E}">
        <p14:creationId xmlns:p14="http://schemas.microsoft.com/office/powerpoint/2010/main" val="10532057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04C1E97-F1BA-F9EE-9F55-A647C1D3549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C3D67EE-C3A3-B0EA-D69D-52899B50102C}"/>
              </a:ext>
            </a:extLst>
          </p:cNvPr>
          <p:cNvSpPr/>
          <p:nvPr/>
        </p:nvSpPr>
        <p:spPr>
          <a:xfrm>
            <a:off x="8055389" y="1502794"/>
            <a:ext cx="1401366" cy="547200"/>
          </a:xfrm>
          <a:prstGeom prst="roundRect">
            <a:avLst/>
          </a:prstGeom>
          <a:gradFill flip="none" rotWithShape="1">
            <a:gsLst>
              <a:gs pos="100000">
                <a:schemeClr val="accent2"/>
              </a:gs>
              <a:gs pos="40000">
                <a:srgbClr val="00E6DC"/>
              </a:gs>
            </a:gsLst>
            <a:lin ang="5400000" scaled="1"/>
            <a:tileRect/>
          </a:gra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 b="1" dirty="0"/>
              <a:t>Detector</a:t>
            </a:r>
            <a:endParaRPr lang="en-GB" sz="1600" b="1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436A202-54D1-B0D2-21C4-75214D575E92}"/>
              </a:ext>
            </a:extLst>
          </p:cNvPr>
          <p:cNvSpPr/>
          <p:nvPr/>
        </p:nvSpPr>
        <p:spPr>
          <a:xfrm>
            <a:off x="4940899" y="1502794"/>
            <a:ext cx="1501950" cy="547200"/>
          </a:xfrm>
          <a:prstGeom prst="roundRect">
            <a:avLst/>
          </a:prstGeom>
          <a:gradFill flip="none" rotWithShape="1">
            <a:gsLst>
              <a:gs pos="0">
                <a:srgbClr val="009999"/>
              </a:gs>
              <a:gs pos="50000">
                <a:srgbClr val="00E6DC"/>
              </a:gs>
              <a:gs pos="100000">
                <a:schemeClr val="accent4">
                  <a:lumMod val="40000"/>
                  <a:lumOff val="60000"/>
                </a:schemeClr>
              </a:gs>
            </a:gsLst>
            <a:lin ang="5400000" scaled="1"/>
            <a:tileRect/>
          </a:gra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 b="1" dirty="0"/>
              <a:t>Serializable</a:t>
            </a:r>
            <a:endParaRPr lang="en-GB" sz="1600" b="1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B2D326B-95FE-E83D-DB67-95757B1C77A0}"/>
              </a:ext>
            </a:extLst>
          </p:cNvPr>
          <p:cNvSpPr/>
          <p:nvPr/>
        </p:nvSpPr>
        <p:spPr>
          <a:xfrm>
            <a:off x="5769389" y="3140382"/>
            <a:ext cx="2286000" cy="547200"/>
          </a:xfrm>
          <a:prstGeom prst="roundRect">
            <a:avLst/>
          </a:prstGeom>
          <a:gradFill flip="none" rotWithShape="1">
            <a:gsLst>
              <a:gs pos="0">
                <a:srgbClr val="009999"/>
              </a:gs>
              <a:gs pos="50000">
                <a:srgbClr val="00E6DC"/>
              </a:gs>
              <a:gs pos="100000">
                <a:schemeClr val="accent4">
                  <a:lumMod val="40000"/>
                  <a:lumOff val="60000"/>
                </a:schemeClr>
              </a:gs>
            </a:gsLst>
            <a:lin ang="5400000" scaled="1"/>
            <a:tileRect/>
          </a:gra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 b="1" dirty="0"/>
              <a:t>Cascade Classifier</a:t>
            </a:r>
            <a:endParaRPr lang="en-GB" sz="1600" b="1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A007282-C9F0-EBEA-9F66-F4052CB985F3}"/>
              </a:ext>
            </a:extLst>
          </p:cNvPr>
          <p:cNvSpPr/>
          <p:nvPr/>
        </p:nvSpPr>
        <p:spPr>
          <a:xfrm>
            <a:off x="9456755" y="3140382"/>
            <a:ext cx="2286000" cy="547200"/>
          </a:xfrm>
          <a:prstGeom prst="roundRect">
            <a:avLst/>
          </a:prstGeom>
          <a:gradFill flip="none" rotWithShape="1">
            <a:gsLst>
              <a:gs pos="0">
                <a:srgbClr val="009999"/>
              </a:gs>
              <a:gs pos="50000">
                <a:srgbClr val="00E6DC"/>
              </a:gs>
              <a:gs pos="100000">
                <a:schemeClr val="accent4">
                  <a:lumMod val="40000"/>
                  <a:lumOff val="60000"/>
                </a:schemeClr>
              </a:gs>
            </a:gsLst>
            <a:lin ang="5400000" scaled="1"/>
            <a:tileRect/>
          </a:gra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 b="1" dirty="0"/>
              <a:t>Neural Network</a:t>
            </a:r>
            <a:endParaRPr lang="en-GB" sz="1600" b="1" dirty="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E1AD675B-434C-222C-6604-5E015A512682}"/>
              </a:ext>
            </a:extLst>
          </p:cNvPr>
          <p:cNvCxnSpPr>
            <a:cxnSpLocks/>
            <a:stCxn id="8" idx="3"/>
            <a:endCxn id="7" idx="1"/>
          </p:cNvCxnSpPr>
          <p:nvPr/>
        </p:nvCxnSpPr>
        <p:spPr>
          <a:xfrm>
            <a:off x="6442849" y="1776394"/>
            <a:ext cx="1612540" cy="0"/>
          </a:xfrm>
          <a:prstGeom prst="straightConnector1">
            <a:avLst/>
          </a:prstGeom>
          <a:ln w="57150">
            <a:gradFill>
              <a:gsLst>
                <a:gs pos="50000">
                  <a:schemeClr val="accent4">
                    <a:lumMod val="60000"/>
                    <a:lumOff val="40000"/>
                  </a:schemeClr>
                </a:gs>
                <a:gs pos="0">
                  <a:schemeClr val="accent5">
                    <a:lumMod val="40000"/>
                    <a:lumOff val="60000"/>
                  </a:schemeClr>
                </a:gs>
                <a:gs pos="100000">
                  <a:schemeClr val="accent4"/>
                </a:gs>
              </a:gsLst>
              <a:lin ang="5400000" scaled="1"/>
            </a:gra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4A396441-8D00-B031-F6F3-19C9C40CF851}"/>
              </a:ext>
            </a:extLst>
          </p:cNvPr>
          <p:cNvCxnSpPr>
            <a:cxnSpLocks/>
            <a:stCxn id="7" idx="2"/>
            <a:endCxn id="9" idx="0"/>
          </p:cNvCxnSpPr>
          <p:nvPr/>
        </p:nvCxnSpPr>
        <p:spPr>
          <a:xfrm flipH="1">
            <a:off x="6912389" y="2049994"/>
            <a:ext cx="1843683" cy="1090388"/>
          </a:xfrm>
          <a:prstGeom prst="straightConnector1">
            <a:avLst/>
          </a:prstGeom>
          <a:ln w="57150">
            <a:gradFill>
              <a:gsLst>
                <a:gs pos="50000">
                  <a:schemeClr val="accent4">
                    <a:lumMod val="60000"/>
                    <a:lumOff val="40000"/>
                  </a:schemeClr>
                </a:gs>
                <a:gs pos="0">
                  <a:schemeClr val="accent2"/>
                </a:gs>
                <a:gs pos="100000">
                  <a:schemeClr val="accent4"/>
                </a:gs>
              </a:gsLst>
              <a:lin ang="5400000" scaled="1"/>
            </a:gra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AAFEB049-D994-FB86-8516-597E1B9108DC}"/>
              </a:ext>
            </a:extLst>
          </p:cNvPr>
          <p:cNvCxnSpPr>
            <a:cxnSpLocks/>
            <a:stCxn id="7" idx="2"/>
            <a:endCxn id="11" idx="0"/>
          </p:cNvCxnSpPr>
          <p:nvPr/>
        </p:nvCxnSpPr>
        <p:spPr>
          <a:xfrm>
            <a:off x="8756072" y="2049994"/>
            <a:ext cx="1843683" cy="1090388"/>
          </a:xfrm>
          <a:prstGeom prst="straightConnector1">
            <a:avLst/>
          </a:prstGeom>
          <a:ln w="57150">
            <a:gradFill>
              <a:gsLst>
                <a:gs pos="50000">
                  <a:schemeClr val="accent4">
                    <a:lumMod val="60000"/>
                    <a:lumOff val="40000"/>
                  </a:schemeClr>
                </a:gs>
                <a:gs pos="0">
                  <a:schemeClr val="accent2"/>
                </a:gs>
                <a:gs pos="100000">
                  <a:schemeClr val="accent4"/>
                </a:gs>
              </a:gsLst>
              <a:lin ang="5400000" scaled="1"/>
            </a:gra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582B7FC0-D2E5-457B-A163-B8E22F3F9A35}"/>
              </a:ext>
            </a:extLst>
          </p:cNvPr>
          <p:cNvCxnSpPr>
            <a:cxnSpLocks/>
            <a:stCxn id="14" idx="0"/>
            <a:endCxn id="11" idx="2"/>
          </p:cNvCxnSpPr>
          <p:nvPr/>
        </p:nvCxnSpPr>
        <p:spPr>
          <a:xfrm flipV="1">
            <a:off x="10599755" y="3687582"/>
            <a:ext cx="0" cy="816788"/>
          </a:xfrm>
          <a:prstGeom prst="straightConnector1">
            <a:avLst/>
          </a:prstGeom>
          <a:ln w="57150">
            <a:gradFill>
              <a:gsLst>
                <a:gs pos="0">
                  <a:srgbClr val="EF0137"/>
                </a:gs>
                <a:gs pos="50000">
                  <a:schemeClr val="accent2"/>
                </a:gs>
                <a:gs pos="100000">
                  <a:schemeClr val="accent4"/>
                </a:gs>
              </a:gsLst>
              <a:lin ang="5400000" scaled="1"/>
            </a:gra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1CC93C82-205B-18EA-5598-CBEAD8E67865}"/>
              </a:ext>
            </a:extLst>
          </p:cNvPr>
          <p:cNvSpPr/>
          <p:nvPr/>
        </p:nvSpPr>
        <p:spPr>
          <a:xfrm>
            <a:off x="9456755" y="4504370"/>
            <a:ext cx="2286000" cy="547200"/>
          </a:xfrm>
          <a:prstGeom prst="roundRect">
            <a:avLst/>
          </a:prstGeom>
          <a:gradFill flip="none" rotWithShape="1">
            <a:gsLst>
              <a:gs pos="0">
                <a:srgbClr val="009999"/>
              </a:gs>
              <a:gs pos="50000">
                <a:srgbClr val="00E6DC"/>
              </a:gs>
              <a:gs pos="100000">
                <a:schemeClr val="accent4">
                  <a:lumMod val="40000"/>
                  <a:lumOff val="60000"/>
                </a:schemeClr>
              </a:gs>
            </a:gsLst>
            <a:lin ang="5400000" scaled="1"/>
            <a:tileRect/>
          </a:gra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 b="1" dirty="0"/>
              <a:t>Threshold Adjuster</a:t>
            </a:r>
            <a:endParaRPr lang="en-GB" sz="1600" b="1" dirty="0"/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6E9333B4-3186-4A9C-2A99-37E5828CA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</p:spPr>
        <p:txBody>
          <a:bodyPr/>
          <a:lstStyle/>
          <a:p>
            <a:r>
              <a:rPr lang="en-US" sz="2400" dirty="0" err="1">
                <a:solidFill>
                  <a:srgbClr val="00C1B6"/>
                </a:solidFill>
              </a:rPr>
              <a:t>ObjectDetection</a:t>
            </a:r>
            <a:r>
              <a:rPr lang="en-US" sz="2400" dirty="0">
                <a:solidFill>
                  <a:srgbClr val="00C1B6"/>
                </a:solidFill>
              </a:rPr>
              <a:t> library</a:t>
            </a:r>
            <a:endParaRPr lang="en-GB" sz="2400" dirty="0">
              <a:solidFill>
                <a:srgbClr val="00C1B6"/>
              </a:solidFill>
            </a:endParaRPr>
          </a:p>
        </p:txBody>
      </p:sp>
      <p:sp>
        <p:nvSpPr>
          <p:cNvPr id="51" name="Content Placeholder 2">
            <a:extLst>
              <a:ext uri="{FF2B5EF4-FFF2-40B4-BE49-F238E27FC236}">
                <a16:creationId xmlns:a16="http://schemas.microsoft.com/office/drawing/2014/main" id="{C989ECF3-E063-EA46-6123-E607C66728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3"/>
            <a:ext cx="3829051" cy="4392612"/>
          </a:xfrm>
          <a:ln>
            <a:noFill/>
          </a:ln>
        </p:spPr>
        <p:txBody>
          <a:bodyPr/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sz="1600" b="1" dirty="0">
                <a:latin typeface="+mj-lt"/>
                <a:ea typeface="+mj-ea"/>
                <a:cs typeface="+mj-cs"/>
              </a:rPr>
              <a:t>Follows </a:t>
            </a:r>
            <a:r>
              <a:rPr lang="en-US" sz="1600" b="1" dirty="0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SOLID </a:t>
            </a:r>
            <a:r>
              <a:rPr lang="en-US" sz="1600" b="1" dirty="0">
                <a:latin typeface="+mj-lt"/>
                <a:ea typeface="+mj-ea"/>
                <a:cs typeface="+mj-cs"/>
              </a:rPr>
              <a:t>principles:</a:t>
            </a:r>
          </a:p>
          <a:p>
            <a:pPr marL="522900" lvl="1" indent="-342900">
              <a:buFont typeface="Courier New" panose="02070309020205020404" pitchFamily="49" charset="0"/>
              <a:buChar char="o"/>
            </a:pPr>
            <a:r>
              <a:rPr lang="en-US" sz="1600" b="1" dirty="0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S</a:t>
            </a:r>
            <a:r>
              <a:rPr lang="en-US" sz="1600" dirty="0">
                <a:latin typeface="+mj-lt"/>
                <a:ea typeface="+mj-ea"/>
                <a:cs typeface="+mj-cs"/>
              </a:rPr>
              <a:t>ingle responsibility principle</a:t>
            </a:r>
          </a:p>
          <a:p>
            <a:pPr marL="522900" lvl="1" indent="-342900">
              <a:buFont typeface="Courier New" panose="02070309020205020404" pitchFamily="49" charset="0"/>
              <a:buChar char="o"/>
            </a:pPr>
            <a:r>
              <a:rPr lang="en-US" sz="1600" b="1" dirty="0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O</a:t>
            </a:r>
            <a:r>
              <a:rPr lang="en-US" sz="1600" dirty="0">
                <a:latin typeface="+mj-lt"/>
                <a:ea typeface="+mj-ea"/>
                <a:cs typeface="+mj-cs"/>
              </a:rPr>
              <a:t>pen/closed principle</a:t>
            </a:r>
          </a:p>
          <a:p>
            <a:pPr marL="522900" lvl="1" indent="-342900">
              <a:buFont typeface="Courier New" panose="02070309020205020404" pitchFamily="49" charset="0"/>
              <a:buChar char="o"/>
            </a:pPr>
            <a:r>
              <a:rPr lang="en-US" sz="1600" b="1" dirty="0" err="1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L</a:t>
            </a:r>
            <a:r>
              <a:rPr lang="en-US" sz="1600" dirty="0" err="1">
                <a:latin typeface="+mj-lt"/>
                <a:ea typeface="+mj-ea"/>
                <a:cs typeface="+mj-cs"/>
              </a:rPr>
              <a:t>iskov</a:t>
            </a:r>
            <a:r>
              <a:rPr lang="en-US" sz="1600" dirty="0">
                <a:latin typeface="+mj-lt"/>
                <a:ea typeface="+mj-ea"/>
                <a:cs typeface="+mj-cs"/>
              </a:rPr>
              <a:t> Substitution principle</a:t>
            </a:r>
          </a:p>
          <a:p>
            <a:pPr marL="522900" lvl="1" indent="-342900">
              <a:buFont typeface="Courier New" panose="02070309020205020404" pitchFamily="49" charset="0"/>
              <a:buChar char="o"/>
            </a:pPr>
            <a:r>
              <a:rPr lang="en-US" sz="1600" b="1" dirty="0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I</a:t>
            </a:r>
            <a:r>
              <a:rPr lang="en-US" sz="1600" dirty="0">
                <a:latin typeface="+mj-lt"/>
                <a:ea typeface="+mj-ea"/>
                <a:cs typeface="+mj-cs"/>
              </a:rPr>
              <a:t>nterface Segregation principle</a:t>
            </a:r>
          </a:p>
          <a:p>
            <a:pPr marL="522900" lvl="1" indent="-342900">
              <a:buFont typeface="Courier New" panose="02070309020205020404" pitchFamily="49" charset="0"/>
              <a:buChar char="o"/>
            </a:pPr>
            <a:r>
              <a:rPr lang="en-US" sz="1600" b="1" dirty="0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D</a:t>
            </a:r>
            <a:r>
              <a:rPr lang="en-US" sz="1600" dirty="0">
                <a:latin typeface="+mj-lt"/>
                <a:ea typeface="+mj-ea"/>
                <a:cs typeface="+mj-cs"/>
              </a:rPr>
              <a:t>ependency inversion principle</a:t>
            </a:r>
            <a:endParaRPr lang="en-US" sz="1600" b="1" dirty="0">
              <a:solidFill>
                <a:schemeClr val="accent3"/>
              </a:solidFill>
              <a:latin typeface="+mj-lt"/>
              <a:ea typeface="+mj-ea"/>
              <a:cs typeface="+mj-cs"/>
            </a:endParaRPr>
          </a:p>
          <a:p>
            <a:endParaRPr lang="en-US" sz="1600" dirty="0"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2194810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12F442D-7CD2-F399-1EF0-2AF03A957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solidFill>
                  <a:srgbClr val="00C1B6"/>
                </a:solidFill>
              </a:rPr>
              <a:t>Single</a:t>
            </a:r>
            <a:r>
              <a:rPr lang="en-US" dirty="0"/>
              <a:t> </a:t>
            </a:r>
            <a:r>
              <a:rPr lang="en-US" sz="2400" dirty="0">
                <a:solidFill>
                  <a:srgbClr val="00C1B6"/>
                </a:solidFill>
              </a:rPr>
              <a:t>Responsibility Principle</a:t>
            </a:r>
            <a:endParaRPr lang="en-GB" sz="2400" dirty="0">
              <a:solidFill>
                <a:srgbClr val="00C1B6"/>
              </a:solidFill>
            </a:endParaRPr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3F64DA5D-1FEF-45CF-8F11-1E9BC92BD6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9219" y="6310800"/>
            <a:ext cx="9216000" cy="547200"/>
          </a:xfrm>
        </p:spPr>
        <p:txBody>
          <a:bodyPr/>
          <a:lstStyle/>
          <a:p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CFDB929-DAA8-0309-E1AC-922F0ADE5FA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idx="1"/>
          </p:nvPr>
        </p:nvSpPr>
        <p:spPr>
          <a:xfrm>
            <a:off x="1" y="1414462"/>
            <a:ext cx="4539366" cy="4392000"/>
          </a:xfrm>
          <a:ln>
            <a:noFill/>
          </a:ln>
        </p:spPr>
        <p:txBody>
          <a:bodyPr anchor="ctr"/>
          <a:lstStyle/>
          <a:p>
            <a:r>
              <a:rPr lang="en-US" sz="49600" b="1" dirty="0">
                <a:ln w="0"/>
                <a:solidFill>
                  <a:schemeClr val="accent1">
                    <a:alpha val="50000"/>
                  </a:schemeClr>
                </a:solidFill>
              </a:rPr>
              <a:t>S</a:t>
            </a:r>
            <a:endParaRPr lang="en-GB" sz="49600" b="1" dirty="0">
              <a:ln w="0"/>
              <a:solidFill>
                <a:schemeClr val="accent1">
                  <a:alpha val="50000"/>
                </a:schemeClr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42C3F1A-51A7-758B-4C21-5EFB984D618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89" t="2123" b="1153"/>
          <a:stretch/>
        </p:blipFill>
        <p:spPr>
          <a:xfrm>
            <a:off x="4879182" y="1559138"/>
            <a:ext cx="6901658" cy="1579330"/>
          </a:xfrm>
          <a:prstGeom prst="rect">
            <a:avLst/>
          </a:prstGeom>
          <a:ln>
            <a:solidFill>
              <a:srgbClr val="EF0137"/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572EFB6-960F-FF1B-0ABF-112F04DE97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9182" y="3584342"/>
            <a:ext cx="6901657" cy="1278938"/>
          </a:xfrm>
          <a:prstGeom prst="rect">
            <a:avLst/>
          </a:prstGeom>
          <a:ln>
            <a:solidFill>
              <a:schemeClr val="accent3"/>
            </a:solidFill>
          </a:ln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5D719898-287D-BF5A-42F1-64EE374957A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58"/>
          <a:stretch/>
        </p:blipFill>
        <p:spPr>
          <a:xfrm>
            <a:off x="4879182" y="4863280"/>
            <a:ext cx="6901656" cy="1251466"/>
          </a:xfrm>
          <a:prstGeom prst="rect">
            <a:avLst/>
          </a:prstGeom>
          <a:ln>
            <a:solidFill>
              <a:schemeClr val="accent3"/>
            </a:solidFill>
          </a:ln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2939CCB9-4735-EF5E-2482-779A7239AF8B}"/>
              </a:ext>
            </a:extLst>
          </p:cNvPr>
          <p:cNvSpPr txBox="1"/>
          <p:nvPr/>
        </p:nvSpPr>
        <p:spPr>
          <a:xfrm>
            <a:off x="323493" y="843753"/>
            <a:ext cx="856333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0" i="0" dirty="0">
                <a:solidFill>
                  <a:srgbClr val="D1D5DB"/>
                </a:solidFill>
                <a:effectLst/>
                <a:latin typeface="Söhne"/>
              </a:rPr>
              <a:t>Each class should have one responsibility.</a:t>
            </a:r>
          </a:p>
          <a:p>
            <a:br>
              <a:rPr lang="en-US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42800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12F442D-7CD2-F399-1EF0-2AF03A957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solidFill>
                  <a:srgbClr val="00C1B6"/>
                </a:solidFill>
              </a:rPr>
              <a:t>Open/Closed Principle</a:t>
            </a:r>
            <a:endParaRPr lang="en-GB" sz="2400" dirty="0">
              <a:solidFill>
                <a:srgbClr val="00C1B6"/>
              </a:solidFill>
            </a:endParaRPr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3F64DA5D-1FEF-45CF-8F11-1E9BC92BD6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9219" y="6310800"/>
            <a:ext cx="9216000" cy="547200"/>
          </a:xfrm>
        </p:spPr>
        <p:txBody>
          <a:bodyPr/>
          <a:lstStyle/>
          <a:p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CFDB929-DAA8-0309-E1AC-922F0ADE5FA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idx="1"/>
          </p:nvPr>
        </p:nvSpPr>
        <p:spPr>
          <a:xfrm>
            <a:off x="1" y="1414462"/>
            <a:ext cx="4539366" cy="4392000"/>
          </a:xfrm>
          <a:ln>
            <a:noFill/>
          </a:ln>
        </p:spPr>
        <p:txBody>
          <a:bodyPr anchor="ctr"/>
          <a:lstStyle/>
          <a:p>
            <a:r>
              <a:rPr lang="en-US" sz="49600" b="1" dirty="0">
                <a:ln w="0"/>
                <a:solidFill>
                  <a:schemeClr val="accent1">
                    <a:alpha val="50000"/>
                  </a:schemeClr>
                </a:solidFill>
              </a:rPr>
              <a:t>O</a:t>
            </a:r>
            <a:endParaRPr lang="en-GB" sz="49600" b="1" dirty="0">
              <a:ln w="0"/>
              <a:solidFill>
                <a:schemeClr val="accent1">
                  <a:alpha val="50000"/>
                </a:schemeClr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939CCB9-4735-EF5E-2482-779A7239AF8B}"/>
              </a:ext>
            </a:extLst>
          </p:cNvPr>
          <p:cNvSpPr txBox="1"/>
          <p:nvPr/>
        </p:nvSpPr>
        <p:spPr>
          <a:xfrm>
            <a:off x="323493" y="843753"/>
            <a:ext cx="856333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0" i="0" dirty="0">
                <a:solidFill>
                  <a:srgbClr val="D1D5DB"/>
                </a:solidFill>
                <a:effectLst/>
                <a:latin typeface="Söhne"/>
              </a:rPr>
              <a:t>Software entities should be open for extension but closed for modification.</a:t>
            </a:r>
            <a:br>
              <a:rPr lang="en-US" dirty="0"/>
            </a:br>
            <a:endParaRPr lang="en-GB" dirty="0"/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E72A3CC-E640-E70F-E7A8-A20BEA7852B8}"/>
              </a:ext>
            </a:extLst>
          </p:cNvPr>
          <p:cNvCxnSpPr>
            <a:cxnSpLocks/>
            <a:stCxn id="39" idx="3"/>
            <a:endCxn id="43" idx="1"/>
          </p:cNvCxnSpPr>
          <p:nvPr/>
        </p:nvCxnSpPr>
        <p:spPr>
          <a:xfrm>
            <a:off x="7862992" y="3842526"/>
            <a:ext cx="1023832" cy="1098315"/>
          </a:xfrm>
          <a:prstGeom prst="straightConnector1">
            <a:avLst/>
          </a:prstGeom>
          <a:ln w="44450">
            <a:solidFill>
              <a:schemeClr val="accent2"/>
            </a:solidFill>
            <a:prstDash val="sysDot"/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403E833-8968-2A79-B42A-9FBB866FE565}"/>
              </a:ext>
            </a:extLst>
          </p:cNvPr>
          <p:cNvCxnSpPr>
            <a:cxnSpLocks/>
            <a:stCxn id="39" idx="3"/>
            <a:endCxn id="41" idx="1"/>
          </p:cNvCxnSpPr>
          <p:nvPr/>
        </p:nvCxnSpPr>
        <p:spPr>
          <a:xfrm>
            <a:off x="7862992" y="3842526"/>
            <a:ext cx="1023832" cy="0"/>
          </a:xfrm>
          <a:prstGeom prst="straightConnector1">
            <a:avLst/>
          </a:prstGeom>
          <a:ln w="57150">
            <a:gradFill>
              <a:gsLst>
                <a:gs pos="50000">
                  <a:schemeClr val="accent4">
                    <a:lumMod val="60000"/>
                    <a:lumOff val="40000"/>
                  </a:schemeClr>
                </a:gs>
                <a:gs pos="0">
                  <a:schemeClr val="accent2"/>
                </a:gs>
                <a:gs pos="100000">
                  <a:schemeClr val="accent4"/>
                </a:gs>
              </a:gsLst>
              <a:lin ang="5400000" scaled="1"/>
            </a:gra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84E9626D-27F2-9F9E-6B47-ADA939CCAE65}"/>
              </a:ext>
            </a:extLst>
          </p:cNvPr>
          <p:cNvSpPr/>
          <p:nvPr/>
        </p:nvSpPr>
        <p:spPr>
          <a:xfrm>
            <a:off x="6461626" y="3568926"/>
            <a:ext cx="1401366" cy="547200"/>
          </a:xfrm>
          <a:prstGeom prst="roundRect">
            <a:avLst/>
          </a:prstGeom>
          <a:gradFill flip="none" rotWithShape="1">
            <a:gsLst>
              <a:gs pos="100000">
                <a:schemeClr val="accent2"/>
              </a:gs>
              <a:gs pos="40000">
                <a:srgbClr val="00E6DC"/>
              </a:gs>
            </a:gsLst>
            <a:lin ang="5400000" scaled="1"/>
            <a:tileRect/>
          </a:gra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 b="1" dirty="0"/>
              <a:t>Detector</a:t>
            </a:r>
            <a:endParaRPr lang="en-GB" sz="1600" b="1" dirty="0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D4E5A74D-B617-44FE-59B4-D239B63E70C4}"/>
              </a:ext>
            </a:extLst>
          </p:cNvPr>
          <p:cNvSpPr/>
          <p:nvPr/>
        </p:nvSpPr>
        <p:spPr>
          <a:xfrm>
            <a:off x="8886824" y="2586442"/>
            <a:ext cx="2286000" cy="547200"/>
          </a:xfrm>
          <a:prstGeom prst="roundRect">
            <a:avLst/>
          </a:prstGeom>
          <a:gradFill flip="none" rotWithShape="1">
            <a:gsLst>
              <a:gs pos="0">
                <a:srgbClr val="009999"/>
              </a:gs>
              <a:gs pos="50000">
                <a:srgbClr val="00E6DC"/>
              </a:gs>
              <a:gs pos="100000">
                <a:schemeClr val="accent4">
                  <a:lumMod val="40000"/>
                  <a:lumOff val="60000"/>
                </a:schemeClr>
              </a:gs>
            </a:gsLst>
            <a:lin ang="5400000" scaled="1"/>
            <a:tileRect/>
          </a:gra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 b="1" dirty="0"/>
              <a:t>Cascade Classifier</a:t>
            </a:r>
            <a:endParaRPr lang="en-GB" sz="1600" b="1" dirty="0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249144CD-FC8F-14B0-79D1-3FEFF2E1A3B1}"/>
              </a:ext>
            </a:extLst>
          </p:cNvPr>
          <p:cNvSpPr/>
          <p:nvPr/>
        </p:nvSpPr>
        <p:spPr>
          <a:xfrm>
            <a:off x="8886824" y="3568926"/>
            <a:ext cx="2286000" cy="547200"/>
          </a:xfrm>
          <a:prstGeom prst="roundRect">
            <a:avLst/>
          </a:prstGeom>
          <a:gradFill flip="none" rotWithShape="1">
            <a:gsLst>
              <a:gs pos="0">
                <a:srgbClr val="009999"/>
              </a:gs>
              <a:gs pos="50000">
                <a:srgbClr val="00E6DC"/>
              </a:gs>
              <a:gs pos="100000">
                <a:schemeClr val="accent4">
                  <a:lumMod val="40000"/>
                  <a:lumOff val="60000"/>
                </a:schemeClr>
              </a:gs>
            </a:gsLst>
            <a:lin ang="5400000" scaled="1"/>
            <a:tileRect/>
          </a:gra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 b="1" dirty="0"/>
              <a:t>Neural Network</a:t>
            </a:r>
            <a:endParaRPr lang="en-GB" sz="1600" b="1" dirty="0"/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3CFA500-0A0D-31E4-1927-A34139CBD4F8}"/>
              </a:ext>
            </a:extLst>
          </p:cNvPr>
          <p:cNvCxnSpPr>
            <a:cxnSpLocks/>
            <a:stCxn id="39" idx="3"/>
            <a:endCxn id="40" idx="1"/>
          </p:cNvCxnSpPr>
          <p:nvPr/>
        </p:nvCxnSpPr>
        <p:spPr>
          <a:xfrm flipV="1">
            <a:off x="7862992" y="2860042"/>
            <a:ext cx="1023832" cy="982484"/>
          </a:xfrm>
          <a:prstGeom prst="straightConnector1">
            <a:avLst/>
          </a:prstGeom>
          <a:ln w="57150">
            <a:gradFill>
              <a:gsLst>
                <a:gs pos="50000">
                  <a:schemeClr val="accent4">
                    <a:lumMod val="60000"/>
                    <a:lumOff val="40000"/>
                  </a:schemeClr>
                </a:gs>
                <a:gs pos="0">
                  <a:schemeClr val="accent2"/>
                </a:gs>
                <a:gs pos="100000">
                  <a:schemeClr val="accent4"/>
                </a:gs>
              </a:gsLst>
              <a:lin ang="5400000" scaled="1"/>
            </a:gra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02F75CCF-4250-A7A2-6011-F69EC479FBA7}"/>
              </a:ext>
            </a:extLst>
          </p:cNvPr>
          <p:cNvSpPr/>
          <p:nvPr/>
        </p:nvSpPr>
        <p:spPr>
          <a:xfrm>
            <a:off x="8886824" y="4667241"/>
            <a:ext cx="2286000" cy="547200"/>
          </a:xfrm>
          <a:prstGeom prst="roundRect">
            <a:avLst/>
          </a:prstGeom>
          <a:noFill/>
          <a:ln>
            <a:solidFill>
              <a:schemeClr val="accent2"/>
            </a:solidFill>
            <a:prstDash val="lgDashDot"/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 b="1" dirty="0">
                <a:solidFill>
                  <a:schemeClr val="accent3"/>
                </a:solidFill>
              </a:rPr>
              <a:t>Some New Type</a:t>
            </a:r>
            <a:endParaRPr lang="en-GB" sz="1600" b="1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23273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12F442D-7CD2-F399-1EF0-2AF03A957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err="1">
                <a:solidFill>
                  <a:srgbClr val="00C1B6"/>
                </a:solidFill>
              </a:rPr>
              <a:t>Liskov</a:t>
            </a:r>
            <a:r>
              <a:rPr lang="en-US" sz="2400" dirty="0">
                <a:solidFill>
                  <a:srgbClr val="00C1B6"/>
                </a:solidFill>
              </a:rPr>
              <a:t> Substitution Principle</a:t>
            </a:r>
            <a:endParaRPr lang="en-GB" sz="2400" dirty="0">
              <a:solidFill>
                <a:srgbClr val="00C1B6"/>
              </a:solidFill>
            </a:endParaRPr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3F64DA5D-1FEF-45CF-8F11-1E9BC92BD6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9219" y="6310800"/>
            <a:ext cx="9216000" cy="547200"/>
          </a:xfrm>
        </p:spPr>
        <p:txBody>
          <a:bodyPr/>
          <a:lstStyle/>
          <a:p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CFDB929-DAA8-0309-E1AC-922F0ADE5FA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idx="1"/>
          </p:nvPr>
        </p:nvSpPr>
        <p:spPr>
          <a:xfrm>
            <a:off x="1" y="1414462"/>
            <a:ext cx="4539366" cy="4392000"/>
          </a:xfrm>
          <a:ln>
            <a:noFill/>
          </a:ln>
        </p:spPr>
        <p:txBody>
          <a:bodyPr anchor="ctr"/>
          <a:lstStyle/>
          <a:p>
            <a:r>
              <a:rPr lang="en-US" sz="49600" b="1" dirty="0">
                <a:ln w="0"/>
                <a:solidFill>
                  <a:schemeClr val="accent1">
                    <a:alpha val="50000"/>
                  </a:schemeClr>
                </a:solidFill>
              </a:rPr>
              <a:t>L</a:t>
            </a:r>
            <a:endParaRPr lang="en-GB" sz="49600" b="1" dirty="0">
              <a:ln w="0"/>
              <a:solidFill>
                <a:schemeClr val="accent1">
                  <a:alpha val="50000"/>
                </a:schemeClr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939CCB9-4735-EF5E-2482-779A7239AF8B}"/>
              </a:ext>
            </a:extLst>
          </p:cNvPr>
          <p:cNvSpPr txBox="1"/>
          <p:nvPr/>
        </p:nvSpPr>
        <p:spPr>
          <a:xfrm>
            <a:off x="323493" y="843753"/>
            <a:ext cx="631860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0" i="0" dirty="0">
                <a:solidFill>
                  <a:srgbClr val="D1D5DB"/>
                </a:solidFill>
                <a:effectLst/>
                <a:latin typeface="Söhne"/>
              </a:rPr>
              <a:t>Functions that use pointers or references to base classes must be able to use objects of derived classes without knowing it.</a:t>
            </a:r>
          </a:p>
        </p:txBody>
      </p:sp>
    </p:spTree>
    <p:extLst>
      <p:ext uri="{BB962C8B-B14F-4D97-AF65-F5344CB8AC3E}">
        <p14:creationId xmlns:p14="http://schemas.microsoft.com/office/powerpoint/2010/main" val="6340022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12F442D-7CD2-F399-1EF0-2AF03A957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solidFill>
                  <a:srgbClr val="00C1B6"/>
                </a:solidFill>
              </a:rPr>
              <a:t>Interface Segregation Principle</a:t>
            </a:r>
            <a:endParaRPr lang="en-GB" sz="2400" dirty="0">
              <a:solidFill>
                <a:srgbClr val="00C1B6"/>
              </a:solidFill>
            </a:endParaRPr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3F64DA5D-1FEF-45CF-8F11-1E9BC92BD6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9219" y="6310800"/>
            <a:ext cx="9216000" cy="547200"/>
          </a:xfrm>
        </p:spPr>
        <p:txBody>
          <a:bodyPr/>
          <a:lstStyle/>
          <a:p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CFDB929-DAA8-0309-E1AC-922F0ADE5FA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idx="1"/>
          </p:nvPr>
        </p:nvSpPr>
        <p:spPr>
          <a:xfrm>
            <a:off x="1" y="1414462"/>
            <a:ext cx="4539366" cy="4392000"/>
          </a:xfrm>
          <a:ln>
            <a:noFill/>
          </a:ln>
        </p:spPr>
        <p:txBody>
          <a:bodyPr anchor="ctr"/>
          <a:lstStyle/>
          <a:p>
            <a:r>
              <a:rPr lang="en-US" sz="49600" b="1" dirty="0">
                <a:ln w="0"/>
                <a:solidFill>
                  <a:schemeClr val="accent1">
                    <a:alpha val="50000"/>
                  </a:schemeClr>
                </a:solidFill>
              </a:rPr>
              <a:t>I</a:t>
            </a:r>
            <a:endParaRPr lang="en-GB" sz="49600" b="1" dirty="0">
              <a:ln w="0"/>
              <a:solidFill>
                <a:schemeClr val="accent1">
                  <a:alpha val="50000"/>
                </a:schemeClr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939CCB9-4735-EF5E-2482-779A7239AF8B}"/>
              </a:ext>
            </a:extLst>
          </p:cNvPr>
          <p:cNvSpPr txBox="1"/>
          <p:nvPr/>
        </p:nvSpPr>
        <p:spPr>
          <a:xfrm>
            <a:off x="323493" y="843753"/>
            <a:ext cx="856333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0" i="0" dirty="0">
                <a:solidFill>
                  <a:srgbClr val="D1D5DB"/>
                </a:solidFill>
                <a:effectLst/>
                <a:latin typeface="Söhne"/>
              </a:rPr>
              <a:t>Clients should not be forced to depend on interfaces they don't use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DBD0F95-AC9D-6408-FDD2-6E619C3780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3" t="110" b="2616"/>
          <a:stretch/>
        </p:blipFill>
        <p:spPr>
          <a:xfrm>
            <a:off x="4902200" y="1906292"/>
            <a:ext cx="6878640" cy="1539662"/>
          </a:xfrm>
          <a:prstGeom prst="rect">
            <a:avLst/>
          </a:prstGeom>
          <a:ln>
            <a:solidFill>
              <a:schemeClr val="accent3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00D98EF-88E8-502D-8354-C762471279A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88" r="2228"/>
          <a:stretch/>
        </p:blipFill>
        <p:spPr>
          <a:xfrm>
            <a:off x="4902200" y="3950292"/>
            <a:ext cx="6878640" cy="1509015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26280475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12F442D-7CD2-F399-1EF0-2AF03A957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solidFill>
                  <a:srgbClr val="00C1B6"/>
                </a:solidFill>
              </a:rPr>
              <a:t>Dependency Inversion Principle</a:t>
            </a:r>
            <a:endParaRPr lang="en-GB" sz="2400" dirty="0">
              <a:solidFill>
                <a:srgbClr val="00C1B6"/>
              </a:solidFill>
            </a:endParaRPr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3F64DA5D-1FEF-45CF-8F11-1E9BC92BD6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9219" y="6310800"/>
            <a:ext cx="9216000" cy="547200"/>
          </a:xfrm>
        </p:spPr>
        <p:txBody>
          <a:bodyPr/>
          <a:lstStyle/>
          <a:p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CFDB929-DAA8-0309-E1AC-922F0ADE5FA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idx="1"/>
          </p:nvPr>
        </p:nvSpPr>
        <p:spPr>
          <a:xfrm>
            <a:off x="1" y="1414462"/>
            <a:ext cx="4539366" cy="4392000"/>
          </a:xfrm>
          <a:ln>
            <a:noFill/>
          </a:ln>
        </p:spPr>
        <p:txBody>
          <a:bodyPr anchor="ctr"/>
          <a:lstStyle/>
          <a:p>
            <a:r>
              <a:rPr lang="en-US" sz="49600" b="1" dirty="0">
                <a:ln w="0"/>
                <a:solidFill>
                  <a:schemeClr val="accent1">
                    <a:alpha val="50000"/>
                  </a:schemeClr>
                </a:solidFill>
              </a:rPr>
              <a:t>D</a:t>
            </a:r>
            <a:endParaRPr lang="en-GB" sz="49600" b="1" dirty="0">
              <a:ln w="0"/>
              <a:solidFill>
                <a:schemeClr val="accent1">
                  <a:alpha val="50000"/>
                </a:schemeClr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939CCB9-4735-EF5E-2482-779A7239AF8B}"/>
              </a:ext>
            </a:extLst>
          </p:cNvPr>
          <p:cNvSpPr txBox="1"/>
          <p:nvPr/>
        </p:nvSpPr>
        <p:spPr>
          <a:xfrm>
            <a:off x="323493" y="843753"/>
            <a:ext cx="6138133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0" i="0" dirty="0">
                <a:solidFill>
                  <a:srgbClr val="D1D5DB"/>
                </a:solidFill>
                <a:effectLst/>
                <a:latin typeface="Söhne"/>
              </a:rPr>
              <a:t>High-level modules should not depend on low-level modules; both should depend on abstractions.</a:t>
            </a:r>
          </a:p>
          <a:p>
            <a:pPr algn="l"/>
            <a:endParaRPr lang="en-US" b="0" i="0" dirty="0">
              <a:solidFill>
                <a:srgbClr val="D1D5DB"/>
              </a:solidFill>
              <a:effectLst/>
              <a:latin typeface="Söhne"/>
            </a:endParaRPr>
          </a:p>
          <a:p>
            <a:pPr algn="l"/>
            <a:endParaRPr lang="en-US" b="0" i="0" dirty="0">
              <a:solidFill>
                <a:srgbClr val="D1D5DB"/>
              </a:solidFill>
              <a:effectLst/>
              <a:latin typeface="Söhne"/>
            </a:endParaRPr>
          </a:p>
          <a:p>
            <a:pPr algn="l"/>
            <a:endParaRPr lang="en-US" b="0" i="0" dirty="0">
              <a:solidFill>
                <a:srgbClr val="D1D5DB"/>
              </a:solidFill>
              <a:effectLst/>
              <a:latin typeface="Söhne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A4F5104-CE65-29C6-F5FA-D9C406444BA0}"/>
              </a:ext>
            </a:extLst>
          </p:cNvPr>
          <p:cNvGrpSpPr/>
          <p:nvPr/>
        </p:nvGrpSpPr>
        <p:grpSpPr>
          <a:xfrm>
            <a:off x="6096000" y="1490084"/>
            <a:ext cx="5502635" cy="4682116"/>
            <a:chOff x="6096000" y="1490084"/>
            <a:chExt cx="5502635" cy="4682116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A71E4321-866F-142B-BD06-1B157D3EC631}"/>
                </a:ext>
              </a:extLst>
            </p:cNvPr>
            <p:cNvSpPr/>
            <p:nvPr/>
          </p:nvSpPr>
          <p:spPr>
            <a:xfrm>
              <a:off x="8493533" y="2698875"/>
              <a:ext cx="3105102" cy="3473325"/>
            </a:xfrm>
            <a:prstGeom prst="roundRect">
              <a:avLst>
                <a:gd name="adj" fmla="val 4834"/>
              </a:avLst>
            </a:prstGeom>
            <a:noFill/>
            <a:ln>
              <a:solidFill>
                <a:schemeClr val="accent2"/>
              </a:solidFill>
              <a:prstDash val="lgDashDot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GB" dirty="0"/>
            </a:p>
          </p:txBody>
        </p:sp>
        <p:cxnSp>
          <p:nvCxnSpPr>
            <p:cNvPr id="5" name="Straight Arrow Connector 4">
              <a:extLst>
                <a:ext uri="{FF2B5EF4-FFF2-40B4-BE49-F238E27FC236}">
                  <a16:creationId xmlns:a16="http://schemas.microsoft.com/office/drawing/2014/main" id="{97BB19B7-8D6F-1E0A-95FA-333A5D150C6A}"/>
                </a:ext>
              </a:extLst>
            </p:cNvPr>
            <p:cNvCxnSpPr>
              <a:cxnSpLocks/>
              <a:stCxn id="11" idx="3"/>
              <a:endCxn id="15" idx="1"/>
            </p:cNvCxnSpPr>
            <p:nvPr/>
          </p:nvCxnSpPr>
          <p:spPr>
            <a:xfrm>
              <a:off x="7862992" y="4393125"/>
              <a:ext cx="1023832" cy="1098315"/>
            </a:xfrm>
            <a:prstGeom prst="straightConnector1">
              <a:avLst/>
            </a:prstGeom>
            <a:ln w="44450">
              <a:solidFill>
                <a:schemeClr val="accent2"/>
              </a:solidFill>
              <a:prstDash val="sysDot"/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A62660E7-BDFD-0A4F-9215-D3146EF3ABE0}"/>
                </a:ext>
              </a:extLst>
            </p:cNvPr>
            <p:cNvCxnSpPr>
              <a:cxnSpLocks/>
              <a:stCxn id="11" idx="3"/>
              <a:endCxn id="13" idx="1"/>
            </p:cNvCxnSpPr>
            <p:nvPr/>
          </p:nvCxnSpPr>
          <p:spPr>
            <a:xfrm>
              <a:off x="7862992" y="4393125"/>
              <a:ext cx="1023832" cy="0"/>
            </a:xfrm>
            <a:prstGeom prst="straightConnector1">
              <a:avLst/>
            </a:prstGeom>
            <a:ln w="57150">
              <a:gradFill>
                <a:gsLst>
                  <a:gs pos="50000">
                    <a:schemeClr val="accent4">
                      <a:lumMod val="60000"/>
                      <a:lumOff val="40000"/>
                    </a:schemeClr>
                  </a:gs>
                  <a:gs pos="0">
                    <a:schemeClr val="accent2"/>
                  </a:gs>
                  <a:gs pos="100000">
                    <a:schemeClr val="accent4"/>
                  </a:gs>
                </a:gsLst>
                <a:lin ang="5400000" scaled="1"/>
              </a:gra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E9254C17-5EE5-D428-C760-CEE7596CB996}"/>
                </a:ext>
              </a:extLst>
            </p:cNvPr>
            <p:cNvSpPr/>
            <p:nvPr/>
          </p:nvSpPr>
          <p:spPr>
            <a:xfrm>
              <a:off x="6461626" y="4119525"/>
              <a:ext cx="1401366" cy="547200"/>
            </a:xfrm>
            <a:prstGeom prst="roundRect">
              <a:avLst/>
            </a:prstGeom>
            <a:gradFill flip="none" rotWithShape="1">
              <a:gsLst>
                <a:gs pos="100000">
                  <a:schemeClr val="accent2"/>
                </a:gs>
                <a:gs pos="40000">
                  <a:srgbClr val="00E6DC"/>
                </a:gs>
              </a:gsLst>
              <a:lin ang="5400000" scaled="1"/>
              <a:tileRect/>
            </a:gra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sz="1600" b="1" dirty="0"/>
                <a:t>Detector</a:t>
              </a:r>
              <a:endParaRPr lang="en-GB" sz="1600" b="1" dirty="0"/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ECBD8AE3-BA0D-2AA5-BC31-FBC021003822}"/>
                </a:ext>
              </a:extLst>
            </p:cNvPr>
            <p:cNvSpPr/>
            <p:nvPr/>
          </p:nvSpPr>
          <p:spPr>
            <a:xfrm>
              <a:off x="8886824" y="3137041"/>
              <a:ext cx="2286000" cy="547200"/>
            </a:xfrm>
            <a:prstGeom prst="roundRect">
              <a:avLst/>
            </a:prstGeom>
            <a:gradFill flip="none" rotWithShape="1">
              <a:gsLst>
                <a:gs pos="0">
                  <a:srgbClr val="009999"/>
                </a:gs>
                <a:gs pos="50000">
                  <a:srgbClr val="00E6DC"/>
                </a:gs>
                <a:gs pos="100000">
                  <a:schemeClr val="accent4">
                    <a:lumMod val="40000"/>
                    <a:lumOff val="60000"/>
                  </a:schemeClr>
                </a:gs>
              </a:gsLst>
              <a:lin ang="5400000" scaled="1"/>
              <a:tileRect/>
            </a:gra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sz="1600" b="1" dirty="0"/>
                <a:t>Cascade Classifier</a:t>
              </a:r>
              <a:endParaRPr lang="en-GB" sz="1600" b="1" dirty="0"/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DFC5464D-3709-6EFB-6D8D-E60F135E08BE}"/>
                </a:ext>
              </a:extLst>
            </p:cNvPr>
            <p:cNvSpPr/>
            <p:nvPr/>
          </p:nvSpPr>
          <p:spPr>
            <a:xfrm>
              <a:off x="8886824" y="4119525"/>
              <a:ext cx="2286000" cy="547200"/>
            </a:xfrm>
            <a:prstGeom prst="roundRect">
              <a:avLst/>
            </a:prstGeom>
            <a:gradFill flip="none" rotWithShape="1">
              <a:gsLst>
                <a:gs pos="0">
                  <a:srgbClr val="009999"/>
                </a:gs>
                <a:gs pos="50000">
                  <a:srgbClr val="00E6DC"/>
                </a:gs>
                <a:gs pos="100000">
                  <a:schemeClr val="accent4">
                    <a:lumMod val="40000"/>
                    <a:lumOff val="60000"/>
                  </a:schemeClr>
                </a:gs>
              </a:gsLst>
              <a:lin ang="5400000" scaled="1"/>
              <a:tileRect/>
            </a:gra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sz="1600" b="1" dirty="0"/>
                <a:t>Neural Network</a:t>
              </a:r>
              <a:endParaRPr lang="en-GB" sz="1600" b="1" dirty="0"/>
            </a:p>
          </p:txBody>
        </p: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0243E575-0FA8-964C-FD7A-737143B671A7}"/>
                </a:ext>
              </a:extLst>
            </p:cNvPr>
            <p:cNvCxnSpPr>
              <a:cxnSpLocks/>
              <a:stCxn id="11" idx="3"/>
              <a:endCxn id="12" idx="1"/>
            </p:cNvCxnSpPr>
            <p:nvPr/>
          </p:nvCxnSpPr>
          <p:spPr>
            <a:xfrm flipV="1">
              <a:off x="7862992" y="3410641"/>
              <a:ext cx="1023832" cy="982484"/>
            </a:xfrm>
            <a:prstGeom prst="straightConnector1">
              <a:avLst/>
            </a:prstGeom>
            <a:ln w="57150">
              <a:gradFill>
                <a:gsLst>
                  <a:gs pos="50000">
                    <a:schemeClr val="accent4">
                      <a:lumMod val="60000"/>
                      <a:lumOff val="40000"/>
                    </a:schemeClr>
                  </a:gs>
                  <a:gs pos="0">
                    <a:schemeClr val="accent2"/>
                  </a:gs>
                  <a:gs pos="100000">
                    <a:schemeClr val="accent4"/>
                  </a:gs>
                </a:gsLst>
                <a:lin ang="5400000" scaled="1"/>
              </a:gra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4FD960B4-EF2D-5ABE-1B2C-8DF61AE611F5}"/>
                </a:ext>
              </a:extLst>
            </p:cNvPr>
            <p:cNvSpPr/>
            <p:nvPr/>
          </p:nvSpPr>
          <p:spPr>
            <a:xfrm>
              <a:off x="8886824" y="5217840"/>
              <a:ext cx="2286000" cy="547200"/>
            </a:xfrm>
            <a:prstGeom prst="roundRect">
              <a:avLst/>
            </a:prstGeom>
            <a:noFill/>
            <a:ln>
              <a:solidFill>
                <a:schemeClr val="accent2"/>
              </a:solidFill>
              <a:prstDash val="lgDashDot"/>
            </a:ln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sz="1600" b="1" dirty="0">
                  <a:solidFill>
                    <a:schemeClr val="accent3"/>
                  </a:solidFill>
                </a:rPr>
                <a:t>Some New Type</a:t>
              </a:r>
              <a:endParaRPr lang="en-GB" sz="1600" b="1" dirty="0">
                <a:solidFill>
                  <a:schemeClr val="accent3"/>
                </a:solidFill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76D454A7-E9E3-67CB-9DDB-DF69361A8447}"/>
                </a:ext>
              </a:extLst>
            </p:cNvPr>
            <p:cNvSpPr/>
            <p:nvPr/>
          </p:nvSpPr>
          <p:spPr>
            <a:xfrm>
              <a:off x="6096000" y="1490084"/>
              <a:ext cx="2110754" cy="824199"/>
            </a:xfrm>
            <a:prstGeom prst="roundRect">
              <a:avLst/>
            </a:prstGeom>
            <a:gradFill flip="none" rotWithShape="1">
              <a:gsLst>
                <a:gs pos="100000">
                  <a:schemeClr val="accent3"/>
                </a:gs>
                <a:gs pos="4000">
                  <a:schemeClr val="accent6">
                    <a:lumMod val="25000"/>
                    <a:lumOff val="75000"/>
                  </a:schemeClr>
                </a:gs>
              </a:gsLst>
              <a:lin ang="5400000" scaled="1"/>
              <a:tileRect/>
            </a:gra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sz="1600" b="1" dirty="0"/>
                <a:t>Application</a:t>
              </a:r>
              <a:endParaRPr lang="en-GB" sz="1600" b="1" dirty="0"/>
            </a:p>
          </p:txBody>
        </p: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0891E475-9298-AE6E-4D0D-C11D30FD1E26}"/>
                </a:ext>
              </a:extLst>
            </p:cNvPr>
            <p:cNvCxnSpPr>
              <a:cxnSpLocks/>
              <a:stCxn id="16" idx="2"/>
              <a:endCxn id="11" idx="0"/>
            </p:cNvCxnSpPr>
            <p:nvPr/>
          </p:nvCxnSpPr>
          <p:spPr>
            <a:xfrm>
              <a:off x="7151377" y="2314283"/>
              <a:ext cx="10932" cy="1805242"/>
            </a:xfrm>
            <a:prstGeom prst="straightConnector1">
              <a:avLst/>
            </a:prstGeom>
            <a:ln w="57150">
              <a:gradFill>
                <a:gsLst>
                  <a:gs pos="50000">
                    <a:schemeClr val="accent4">
                      <a:lumMod val="60000"/>
                      <a:lumOff val="40000"/>
                    </a:schemeClr>
                  </a:gs>
                  <a:gs pos="0">
                    <a:schemeClr val="accent2"/>
                  </a:gs>
                  <a:gs pos="100000">
                    <a:schemeClr val="accent4"/>
                  </a:gs>
                </a:gsLst>
                <a:lin ang="5400000" scaled="1"/>
              </a:gra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03134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050556-6A80-6DD8-42ED-26EC8EAF2A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cs typeface="Arial"/>
              </a:rPr>
              <a:t>Tests and documentation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981C8EF-4943-843A-F8E9-D39ACE12BEF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6017" y="6310800"/>
            <a:ext cx="9216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3117E3-EE52-E935-3C9D-2452D7487472}"/>
              </a:ext>
            </a:extLst>
          </p:cNvPr>
          <p:cNvSpPr txBox="1"/>
          <p:nvPr/>
        </p:nvSpPr>
        <p:spPr>
          <a:xfrm>
            <a:off x="402430" y="1415142"/>
            <a:ext cx="4111514" cy="36009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ct val="150000"/>
              </a:lnSpc>
            </a:pPr>
            <a:r>
              <a:rPr lang="en-GB">
                <a:solidFill>
                  <a:schemeClr val="tx1"/>
                </a:solidFill>
                <a:latin typeface="Arial"/>
                <a:cs typeface="Arial"/>
              </a:rPr>
              <a:t>To ensure that the application does not encounter any issues, a series of</a:t>
            </a:r>
            <a:r>
              <a:rPr lang="en-GB">
                <a:solidFill>
                  <a:srgbClr val="00D1CB"/>
                </a:solidFill>
                <a:latin typeface="Arial"/>
                <a:cs typeface="Arial"/>
              </a:rPr>
              <a:t> Unit tests</a:t>
            </a:r>
            <a:r>
              <a:rPr lang="en-GB">
                <a:solidFill>
                  <a:schemeClr val="tx1"/>
                </a:solidFill>
                <a:latin typeface="Arial"/>
                <a:cs typeface="Arial"/>
              </a:rPr>
              <a:t> have been implemented that individually verify each component.</a:t>
            </a:r>
            <a:endParaRPr lang="en-US">
              <a:solidFill>
                <a:schemeClr val="tx1"/>
              </a:solidFill>
              <a:latin typeface="Arial"/>
              <a:cs typeface="Arial"/>
            </a:endParaRPr>
          </a:p>
          <a:p>
            <a:pPr algn="l">
              <a:lnSpc>
                <a:spcPct val="150000"/>
              </a:lnSpc>
            </a:pPr>
            <a:endParaRPr lang="en-GB">
              <a:solidFill>
                <a:schemeClr val="tx1"/>
              </a:solidFill>
              <a:latin typeface="Arial"/>
              <a:cs typeface="Arial"/>
            </a:endParaRPr>
          </a:p>
          <a:p>
            <a:pPr algn="l">
              <a:lnSpc>
                <a:spcPct val="150000"/>
              </a:lnSpc>
            </a:pPr>
            <a:r>
              <a:rPr lang="en-GB">
                <a:solidFill>
                  <a:schemeClr val="tx1"/>
                </a:solidFill>
                <a:latin typeface="Arial"/>
                <a:cs typeface="Arial"/>
              </a:rPr>
              <a:t>And to facilitate the understanding and maintenance of the code, </a:t>
            </a:r>
            <a:r>
              <a:rPr lang="en-GB" err="1">
                <a:solidFill>
                  <a:srgbClr val="00D1CB"/>
                </a:solidFill>
                <a:latin typeface="Arial"/>
                <a:cs typeface="Arial"/>
              </a:rPr>
              <a:t>Doxygen</a:t>
            </a:r>
            <a:r>
              <a:rPr lang="en-GB">
                <a:solidFill>
                  <a:schemeClr val="tx1"/>
                </a:solidFill>
                <a:latin typeface="Arial"/>
                <a:cs typeface="Arial"/>
              </a:rPr>
              <a:t> was used to create the documentation.</a:t>
            </a:r>
          </a:p>
          <a:p>
            <a:endParaRPr lang="en-GB">
              <a:solidFill>
                <a:schemeClr val="tx1"/>
              </a:solidFill>
              <a:latin typeface="Arial"/>
              <a:cs typeface="Arial"/>
            </a:endParaRPr>
          </a:p>
        </p:txBody>
      </p:sp>
      <p:pic>
        <p:nvPicPr>
          <p:cNvPr id="3" name="doxy">
            <a:hlinkClick r:id="" action="ppaction://media"/>
            <a:extLst>
              <a:ext uri="{FF2B5EF4-FFF2-40B4-BE49-F238E27FC236}">
                <a16:creationId xmlns:a16="http://schemas.microsoft.com/office/drawing/2014/main" id="{ED91BA60-C792-4CD1-B37A-7ED5A13D120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812279" y="1415142"/>
            <a:ext cx="6983730" cy="3600986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32036845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570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606C97-B53C-E13A-F2D7-9F7B1CE54D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cs typeface="Arial"/>
              </a:rPr>
              <a:t>Python</a:t>
            </a:r>
            <a:r>
              <a:rPr lang="en-GB">
                <a:ea typeface="+mj-lt"/>
                <a:cs typeface="+mj-lt"/>
              </a:rPr>
              <a:t> and Machine Learning</a:t>
            </a:r>
            <a:endParaRPr lang="en-GB">
              <a:cs typeface="Arial"/>
            </a:endParaRPr>
          </a:p>
        </p:txBody>
      </p:sp>
      <p:pic>
        <p:nvPicPr>
          <p:cNvPr id="8" name="Content Placeholder 7" descr="A black and white image of a street with people crossing the street&#10;&#10;Description automatically generated">
            <a:extLst>
              <a:ext uri="{FF2B5EF4-FFF2-40B4-BE49-F238E27FC236}">
                <a16:creationId xmlns:a16="http://schemas.microsoft.com/office/drawing/2014/main" id="{8A51178C-92D0-BC6F-52F3-81A848D4179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252497" y="1077415"/>
            <a:ext cx="6480799" cy="4703170"/>
          </a:xfrm>
          <a:ln>
            <a:solidFill>
              <a:schemeClr val="accent3"/>
            </a:solidFill>
          </a:ln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61AE60-E1FC-0705-B13E-A916623C7B5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7139" y="6310800"/>
            <a:ext cx="9216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Cârnu &amp; George Patrașc | IFA | 2023-06-08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2D9D8D-B840-9EEC-5774-AEC687C9A17B}"/>
              </a:ext>
            </a:extLst>
          </p:cNvPr>
          <p:cNvSpPr txBox="1"/>
          <p:nvPr/>
        </p:nvSpPr>
        <p:spPr>
          <a:xfrm>
            <a:off x="458704" y="1508960"/>
            <a:ext cx="4461710" cy="327269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ct val="150000"/>
              </a:lnSpc>
            </a:pPr>
            <a:r>
              <a:rPr lang="en-GB">
                <a:solidFill>
                  <a:srgbClr val="00D1CB"/>
                </a:solidFill>
                <a:latin typeface="Arial"/>
                <a:cs typeface="Arial"/>
              </a:rPr>
              <a:t>Python</a:t>
            </a:r>
            <a:r>
              <a:rPr lang="en-GB">
                <a:solidFill>
                  <a:schemeClr val="tx1"/>
                </a:solidFill>
                <a:latin typeface="Arial"/>
                <a:cs typeface="Arial"/>
              </a:rPr>
              <a:t> technologies were also experimented with, recreating the application in a much simpler version in this language. </a:t>
            </a:r>
            <a:endParaRPr lang="en-US">
              <a:solidFill>
                <a:schemeClr val="tx1"/>
              </a:solidFill>
              <a:latin typeface="Arial"/>
              <a:cs typeface="Arial"/>
            </a:endParaRPr>
          </a:p>
          <a:p>
            <a:pPr algn="l">
              <a:lnSpc>
                <a:spcPct val="150000"/>
              </a:lnSpc>
            </a:pPr>
            <a:endParaRPr lang="en-GB">
              <a:solidFill>
                <a:schemeClr val="tx1"/>
              </a:solidFill>
              <a:latin typeface="Arial"/>
              <a:cs typeface="Arial"/>
            </a:endParaRPr>
          </a:p>
          <a:p>
            <a:pPr algn="l">
              <a:lnSpc>
                <a:spcPct val="150000"/>
              </a:lnSpc>
            </a:pPr>
            <a:r>
              <a:rPr lang="en-GB">
                <a:solidFill>
                  <a:schemeClr val="tx1"/>
                </a:solidFill>
                <a:latin typeface="Arial"/>
                <a:cs typeface="Arial"/>
              </a:rPr>
              <a:t>Different </a:t>
            </a:r>
            <a:r>
              <a:rPr lang="en-GB">
                <a:solidFill>
                  <a:srgbClr val="00D1CB"/>
                </a:solidFill>
                <a:latin typeface="Arial"/>
                <a:cs typeface="Arial"/>
              </a:rPr>
              <a:t>detection models</a:t>
            </a:r>
            <a:r>
              <a:rPr lang="en-GB">
                <a:solidFill>
                  <a:schemeClr val="tx1"/>
                </a:solidFill>
                <a:latin typeface="Arial"/>
                <a:cs typeface="Arial"/>
              </a:rPr>
              <a:t> have been explored, even creating a new one that classifies an image into a certain class.</a:t>
            </a:r>
            <a:endParaRPr lang="en-US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222276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8407F61-00EA-BE49-D9FB-BCCB1DB05C66}"/>
              </a:ext>
            </a:extLst>
          </p:cNvPr>
          <p:cNvSpPr txBox="1"/>
          <p:nvPr/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vert="horz" lIns="0" tIns="370800" rIns="0" bIns="0" rtlCol="0">
            <a:normAutofit/>
          </a:bodyPr>
          <a:lstStyle/>
          <a:p>
            <a:pPr algn="l" rtl="0">
              <a:lnSpc>
                <a:spcPct val="110000"/>
              </a:lnSpc>
              <a:spcAft>
                <a:spcPts val="300"/>
              </a:spcAft>
            </a:pPr>
            <a:r>
              <a:rPr lang="en-US" sz="24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Y QUESTIONS?</a:t>
            </a:r>
            <a:endParaRPr lang="en-US" sz="2400" kern="120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83350F-988B-CB4D-B4AB-9FF7B771260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 vert="horz" lIns="0" tIns="0" rIns="0" bIns="61200" rtlCol="0" anchor="ctr" anchorCtr="0">
            <a:normAutofit/>
          </a:bodyPr>
          <a:lstStyle/>
          <a:p>
            <a:pPr>
              <a:spcAft>
                <a:spcPts val="600"/>
              </a:spcAft>
            </a:pPr>
            <a:r>
              <a:rPr lang="en-US">
                <a:latin typeface="+mn-lt"/>
              </a:rPr>
              <a:t>Restricted | © Siemens 2023 | Ferencz Cârnu &amp; George Patrașc | IFA | 2023-09-28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7E6858A-9338-235B-5AEB-5799D1C38DB9}"/>
              </a:ext>
            </a:extLst>
          </p:cNvPr>
          <p:cNvSpPr/>
          <p:nvPr/>
        </p:nvSpPr>
        <p:spPr>
          <a:xfrm>
            <a:off x="152859" y="1515801"/>
            <a:ext cx="11734341" cy="1661993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90000"/>
                  <a:lumOff val="10000"/>
                </a:schemeClr>
              </a:gs>
            </a:gsLst>
            <a:lin ang="8100000" scaled="1"/>
            <a:tileRect/>
          </a:gradFill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l"/>
            <a:r>
              <a:rPr lang="en-US" sz="4800" b="1">
                <a:solidFill>
                  <a:schemeClr val="tx1"/>
                </a:solidFill>
              </a:rPr>
              <a:t>THANK YOU!</a:t>
            </a:r>
            <a:endParaRPr lang="en-GB" sz="48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50228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38D101C9-5442-4E35-9BFD-3591529F0F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DBEB0BB-ED61-B661-E0C7-D40C82282E7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3750" r="23750"/>
          <a:stretch/>
        </p:blipFill>
        <p:spPr>
          <a:xfrm>
            <a:off x="0" y="-6738"/>
            <a:ext cx="3506680" cy="3506680"/>
          </a:xfrm>
          <a:prstGeom prst="rect">
            <a:avLst/>
          </a:prstGeom>
        </p:spPr>
      </p:pic>
      <p:pic>
        <p:nvPicPr>
          <p:cNvPr id="24" name="Picture Placeholder 20">
            <a:extLst>
              <a:ext uri="{FF2B5EF4-FFF2-40B4-BE49-F238E27FC236}">
                <a16:creationId xmlns:a16="http://schemas.microsoft.com/office/drawing/2014/main" id="{C7A5114A-B37F-9AEB-B4A2-14AB56C3AFD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771" b="18228"/>
          <a:stretch/>
        </p:blipFill>
        <p:spPr bwMode="ltGray">
          <a:xfrm>
            <a:off x="3506680" y="-6737"/>
            <a:ext cx="6234098" cy="3506680"/>
          </a:xfrm>
          <a:prstGeom prst="rect">
            <a:avLst/>
          </a:prstGeom>
          <a:solidFill>
            <a:srgbClr val="9999A9"/>
          </a:solidFill>
        </p:spPr>
      </p:pic>
      <p:pic>
        <p:nvPicPr>
          <p:cNvPr id="30" name="Picture 29" descr="A person with long hair and beard&#10;&#10;Description automatically generated with low confidence">
            <a:extLst>
              <a:ext uri="{FF2B5EF4-FFF2-40B4-BE49-F238E27FC236}">
                <a16:creationId xmlns:a16="http://schemas.microsoft.com/office/drawing/2014/main" id="{0D9E18DC-6337-AF04-84A2-CCA53BE4F6C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297" t="-192" r="13802" b="192"/>
          <a:stretch/>
        </p:blipFill>
        <p:spPr>
          <a:xfrm>
            <a:off x="9740779" y="-6737"/>
            <a:ext cx="2451222" cy="3506679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4BB77150-26F0-FC59-DD60-1195ED67D96F}"/>
                  </a:ext>
                </a:extLst>
              </p14:cNvPr>
              <p14:cNvContentPartPr/>
              <p14:nvPr/>
            </p14:nvContentPartPr>
            <p14:xfrm>
              <a:off x="5392830" y="1961029"/>
              <a:ext cx="14007" cy="14007"/>
            </p14:xfrm>
          </p:contentPart>
        </mc:Choice>
        <mc:Fallback xmlns=""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4BB77150-26F0-FC59-DD60-1195ED67D96F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291780" y="-2241071"/>
                <a:ext cx="4202100" cy="8404200"/>
              </a:xfrm>
              <a:prstGeom prst="rect">
                <a:avLst/>
              </a:prstGeom>
            </p:spPr>
          </p:pic>
        </mc:Fallback>
      </mc:AlternateContent>
      <p:pic>
        <p:nvPicPr>
          <p:cNvPr id="4" name="Picture 3" descr="A cat lying on a couch&#10;&#10;Description automatically generated">
            <a:extLst>
              <a:ext uri="{FF2B5EF4-FFF2-40B4-BE49-F238E27FC236}">
                <a16:creationId xmlns:a16="http://schemas.microsoft.com/office/drawing/2014/main" id="{C9908884-5DA7-E62B-8411-1ED6C20D3C2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8581" r="26700"/>
          <a:stretch/>
        </p:blipFill>
        <p:spPr>
          <a:xfrm>
            <a:off x="-2157" y="-40865"/>
            <a:ext cx="3509744" cy="3539484"/>
          </a:xfrm>
          <a:prstGeom prst="rect">
            <a:avLst/>
          </a:prstGeom>
        </p:spPr>
      </p:pic>
      <p:sp>
        <p:nvSpPr>
          <p:cNvPr id="5" name="Titel 1">
            <a:extLst>
              <a:ext uri="{FF2B5EF4-FFF2-40B4-BE49-F238E27FC236}">
                <a16:creationId xmlns:a16="http://schemas.microsoft.com/office/drawing/2014/main" id="{E6299779-AB00-23F8-4C27-7F5E24F01CF4}"/>
              </a:ext>
            </a:extLst>
          </p:cNvPr>
          <p:cNvSpPr txBox="1">
            <a:spLocks/>
          </p:cNvSpPr>
          <p:nvPr/>
        </p:nvSpPr>
        <p:spPr bwMode="black">
          <a:xfrm>
            <a:off x="411162" y="4023840"/>
            <a:ext cx="9287638" cy="1477328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Tx/>
            </a:pPr>
            <a:r>
              <a:rPr lang="en-US" dirty="0"/>
              <a:t>Desktop application to showcase the use of object detection models</a:t>
            </a:r>
          </a:p>
        </p:txBody>
      </p:sp>
    </p:spTree>
    <p:extLst>
      <p:ext uri="{BB962C8B-B14F-4D97-AF65-F5344CB8AC3E}">
        <p14:creationId xmlns:p14="http://schemas.microsoft.com/office/powerpoint/2010/main" val="41984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16807FD-054B-FD46-0132-B44D7CA7A91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299174" y="1414462"/>
            <a:ext cx="7488013" cy="4392000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12F442D-7CD2-F399-1EF0-2AF03A957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210B7B7D-17FE-7597-C36C-425540622A2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tretch/>
        </p:blipFill>
        <p:spPr>
          <a:xfrm>
            <a:off x="411163" y="1762076"/>
            <a:ext cx="3600450" cy="3697385"/>
          </a:xfrm>
          <a:solidFill>
            <a:srgbClr val="009999"/>
          </a:solidFill>
        </p:spPr>
      </p:pic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3F64DA5D-1FEF-45CF-8F11-1E9BC92BD6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9219" y="6310800"/>
            <a:ext cx="9216000" cy="547200"/>
          </a:xfrm>
        </p:spPr>
        <p:txBody>
          <a:bodyPr/>
          <a:lstStyle/>
          <a:p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F3440FB-00D4-D93E-10A6-EEAA928B63C5}"/>
              </a:ext>
            </a:extLst>
          </p:cNvPr>
          <p:cNvSpPr txBox="1"/>
          <p:nvPr/>
        </p:nvSpPr>
        <p:spPr>
          <a:xfrm>
            <a:off x="4437856" y="1515563"/>
            <a:ext cx="61013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noProof="0">
                <a:solidFill>
                  <a:srgbClr val="F3F3F0"/>
                </a:solidFill>
              </a:rPr>
              <a:t>Technologies used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E73F95C-A2B3-4AD1-7E08-24D3BFD3D2F4}"/>
              </a:ext>
            </a:extLst>
          </p:cNvPr>
          <p:cNvGrpSpPr/>
          <p:nvPr/>
        </p:nvGrpSpPr>
        <p:grpSpPr>
          <a:xfrm>
            <a:off x="5773722" y="2382091"/>
            <a:ext cx="1406996" cy="1276801"/>
            <a:chOff x="5773722" y="2382091"/>
            <a:chExt cx="1406996" cy="1276801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F1786A56-7B08-A3C3-6640-C96E2FBA8D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8370" b="90870" l="10000" r="90000">
                          <a14:foregroundMark x1="48261" y1="8478" x2="48261" y2="8478"/>
                          <a14:foregroundMark x1="49891" y1="90870" x2="49891" y2="90870"/>
                          <a14:foregroundMark x1="53261" y1="74348" x2="53261" y2="74348"/>
                          <a14:foregroundMark x1="62500" y1="64674" x2="53478" y2="66957"/>
                          <a14:foregroundMark x1="53478" y1="66957" x2="33043" y2="52065"/>
                          <a14:foregroundMark x1="33043" y1="52065" x2="45543" y2="29891"/>
                          <a14:foregroundMark x1="45543" y1="29891" x2="62065" y2="32283"/>
                          <a14:foregroundMark x1="62065" y1="32283" x2="64674" y2="35000"/>
                          <a14:foregroundMark x1="60652" y1="37609" x2="40000" y2="31739"/>
                          <a14:foregroundMark x1="40000" y1="31739" x2="31413" y2="58261"/>
                          <a14:foregroundMark x1="31413" y1="58261" x2="44022" y2="72391"/>
                          <a14:foregroundMark x1="44022" y1="72391" x2="63913" y2="73152"/>
                          <a14:foregroundMark x1="63913" y1="73152" x2="66087" y2="62500"/>
                          <a14:foregroundMark x1="66087" y1="62500" x2="65435" y2="61304"/>
                          <a14:foregroundMark x1="69022" y1="65761" x2="64130" y2="73043"/>
                          <a14:foregroundMark x1="64130" y1="73043" x2="44348" y2="76522"/>
                          <a14:foregroundMark x1="44348" y1="76522" x2="27174" y2="63043"/>
                          <a14:foregroundMark x1="27174" y1="63043" x2="27609" y2="40761"/>
                          <a14:foregroundMark x1="27609" y1="40761" x2="42283" y2="28261"/>
                          <a14:foregroundMark x1="42283" y1="28261" x2="60870" y2="30109"/>
                          <a14:foregroundMark x1="60870" y1="30109" x2="67609" y2="37283"/>
                          <a14:foregroundMark x1="67609" y1="37283" x2="64457" y2="40543"/>
                          <a14:foregroundMark x1="65978" y1="51848" x2="80326" y2="51304"/>
                          <a14:foregroundMark x1="64130" y1="47717" x2="84022" y2="51196"/>
                          <a14:foregroundMark x1="65109" y1="32500" x2="58696" y2="28370"/>
                          <a14:foregroundMark x1="58696" y1="28370" x2="48696" y2="28478"/>
                          <a14:foregroundMark x1="48696" y1="28478" x2="32174" y2="34348"/>
                          <a14:foregroundMark x1="32174" y1="34348" x2="29022" y2="40000"/>
                          <a14:foregroundMark x1="71522" y1="34348" x2="62500" y2="28152"/>
                          <a14:foregroundMark x1="62500" y1="28152" x2="44457" y2="24783"/>
                          <a14:foregroundMark x1="44457" y1="24783" x2="31848" y2="27826"/>
                          <a14:foregroundMark x1="31848" y1="27826" x2="36630" y2="29130"/>
                        </a14:backgroundRemoval>
                      </a14:imgEffect>
                    </a14:imgLayer>
                  </a14:imgProps>
                </a:ext>
              </a:extLst>
            </a:blip>
            <a:srcRect l="10164" t="5888" r="10197" b="5006"/>
            <a:stretch/>
          </p:blipFill>
          <p:spPr>
            <a:xfrm>
              <a:off x="6096000" y="2382091"/>
              <a:ext cx="774701" cy="866775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68DD77C-72CB-0764-A9E5-EE615F251862}"/>
                </a:ext>
              </a:extLst>
            </p:cNvPr>
            <p:cNvSpPr txBox="1"/>
            <p:nvPr/>
          </p:nvSpPr>
          <p:spPr>
            <a:xfrm>
              <a:off x="5773722" y="3351115"/>
              <a:ext cx="140699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>
                  <a:solidFill>
                    <a:srgbClr val="F3F3F0"/>
                  </a:solidFill>
                </a:rPr>
                <a:t>C++ Language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1CB939FF-CD91-7BE6-4BE2-519488C6D31A}"/>
              </a:ext>
            </a:extLst>
          </p:cNvPr>
          <p:cNvGrpSpPr/>
          <p:nvPr/>
        </p:nvGrpSpPr>
        <p:grpSpPr>
          <a:xfrm>
            <a:off x="7324724" y="2382090"/>
            <a:ext cx="1406996" cy="1272832"/>
            <a:chOff x="7324724" y="2382090"/>
            <a:chExt cx="1406996" cy="1272832"/>
          </a:xfrm>
        </p:grpSpPr>
        <p:pic>
          <p:nvPicPr>
            <p:cNvPr id="15" name="Picture 14" descr="A picture containing graphics, circle, symbol, clipart&#10;&#10;Description automatically generated">
              <a:extLst>
                <a:ext uri="{FF2B5EF4-FFF2-40B4-BE49-F238E27FC236}">
                  <a16:creationId xmlns:a16="http://schemas.microsoft.com/office/drawing/2014/main" id="{D03F03B6-7FC3-74F8-BFB1-3546840136F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561828" y="2382090"/>
              <a:ext cx="932788" cy="866775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DBADB3B-681F-7A81-F8FE-6CBEECA46B5A}"/>
                </a:ext>
              </a:extLst>
            </p:cNvPr>
            <p:cNvSpPr txBox="1"/>
            <p:nvPr/>
          </p:nvSpPr>
          <p:spPr>
            <a:xfrm>
              <a:off x="7324724" y="3347145"/>
              <a:ext cx="140699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>
                  <a:solidFill>
                    <a:srgbClr val="F3F3F0"/>
                  </a:solidFill>
                </a:rPr>
                <a:t>OpenCV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79A7F28-D091-CC84-A574-43E9C064A926}"/>
              </a:ext>
            </a:extLst>
          </p:cNvPr>
          <p:cNvGrpSpPr/>
          <p:nvPr/>
        </p:nvGrpSpPr>
        <p:grpSpPr>
          <a:xfrm>
            <a:off x="8915632" y="2382090"/>
            <a:ext cx="1406996" cy="1279390"/>
            <a:chOff x="8915632" y="2382090"/>
            <a:chExt cx="1406996" cy="1279390"/>
          </a:xfrm>
        </p:grpSpPr>
        <p:pic>
          <p:nvPicPr>
            <p:cNvPr id="19" name="Picture 18" descr="A green rectangle with white letters on it&#10;&#10;Description automatically generated with medium confidence">
              <a:extLst>
                <a:ext uri="{FF2B5EF4-FFF2-40B4-BE49-F238E27FC236}">
                  <a16:creationId xmlns:a16="http://schemas.microsoft.com/office/drawing/2014/main" id="{54A708C6-D111-2121-F6C2-9414F9D5464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0000" l="6800" r="93600">
                          <a14:foregroundMark x1="7600" y1="37333" x2="6800" y2="84533"/>
                          <a14:foregroundMark x1="93600" y1="69733" x2="91733" y2="20267"/>
                          <a14:foregroundMark x1="43600" y1="47200" x2="43600" y2="47200"/>
                          <a14:backgroundMark x1="33467" y1="33200" x2="33467" y2="33200"/>
                          <a14:backgroundMark x1="35467" y1="31467" x2="38133" y2="31467"/>
                          <a14:backgroundMark x1="40133" y1="31733" x2="51333" y2="42000"/>
                          <a14:backgroundMark x1="51067" y1="43867" x2="50800" y2="58933"/>
                          <a14:backgroundMark x1="48000" y1="71600" x2="49467" y2="60667"/>
                          <a14:backgroundMark x1="28267" y1="39467" x2="27733" y2="54000"/>
                          <a14:backgroundMark x1="28000" y1="60133" x2="36800" y2="63867"/>
                          <a14:backgroundMark x1="65867" y1="60133" x2="63467" y2="50133"/>
                          <a14:backgroundMark x1="72000" y1="66400" x2="65067" y2="63600"/>
                          <a14:backgroundMark x1="60667" y1="41333" x2="71733" y2="42800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9185743" y="2382090"/>
              <a:ext cx="866775" cy="866775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67F3485-9C3E-AA18-492C-E5A4E21A5D87}"/>
                </a:ext>
              </a:extLst>
            </p:cNvPr>
            <p:cNvSpPr txBox="1"/>
            <p:nvPr/>
          </p:nvSpPr>
          <p:spPr>
            <a:xfrm>
              <a:off x="8915632" y="3353703"/>
              <a:ext cx="140699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>
                  <a:solidFill>
                    <a:srgbClr val="F3F3F0"/>
                  </a:solidFill>
                </a:rPr>
                <a:t>Qt 6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F19E3EE-4411-9F6C-C387-860295E3A165}"/>
              </a:ext>
            </a:extLst>
          </p:cNvPr>
          <p:cNvGrpSpPr/>
          <p:nvPr/>
        </p:nvGrpSpPr>
        <p:grpSpPr>
          <a:xfrm>
            <a:off x="6512766" y="4188355"/>
            <a:ext cx="1406996" cy="1272832"/>
            <a:chOff x="6512766" y="4188355"/>
            <a:chExt cx="1406996" cy="1272832"/>
          </a:xfrm>
        </p:grpSpPr>
        <p:pic>
          <p:nvPicPr>
            <p:cNvPr id="1032" name="Picture 8" descr="Visual Studio logo">
              <a:extLst>
                <a:ext uri="{FF2B5EF4-FFF2-40B4-BE49-F238E27FC236}">
                  <a16:creationId xmlns:a16="http://schemas.microsoft.com/office/drawing/2014/main" id="{9A1101C2-3461-CC43-C676-E9BDDB8F982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900" r="21900"/>
            <a:stretch/>
          </p:blipFill>
          <p:spPr bwMode="auto">
            <a:xfrm>
              <a:off x="6782877" y="4188355"/>
              <a:ext cx="866775" cy="8667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D83548B8-48DF-BE6B-BBC9-F2E47BA85F33}"/>
                </a:ext>
              </a:extLst>
            </p:cNvPr>
            <p:cNvSpPr txBox="1"/>
            <p:nvPr/>
          </p:nvSpPr>
          <p:spPr>
            <a:xfrm>
              <a:off x="6512766" y="5153410"/>
              <a:ext cx="140699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>
                  <a:solidFill>
                    <a:srgbClr val="F3F3F0"/>
                  </a:solidFill>
                </a:rPr>
                <a:t>Visual Studio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DFEDA30-BED3-6438-6607-B24E97114E4C}"/>
              </a:ext>
            </a:extLst>
          </p:cNvPr>
          <p:cNvGrpSpPr/>
          <p:nvPr/>
        </p:nvGrpSpPr>
        <p:grpSpPr>
          <a:xfrm>
            <a:off x="8136681" y="4188356"/>
            <a:ext cx="1406996" cy="1269424"/>
            <a:chOff x="8136681" y="4188356"/>
            <a:chExt cx="1406996" cy="1269424"/>
          </a:xfrm>
        </p:grpSpPr>
        <p:pic>
          <p:nvPicPr>
            <p:cNvPr id="1034" name="Picture 10" descr="CMake">
              <a:extLst>
                <a:ext uri="{FF2B5EF4-FFF2-40B4-BE49-F238E27FC236}">
                  <a16:creationId xmlns:a16="http://schemas.microsoft.com/office/drawing/2014/main" id="{5ED23228-A514-315B-F886-4FCEDE18290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707" r="21707"/>
            <a:stretch/>
          </p:blipFill>
          <p:spPr bwMode="auto">
            <a:xfrm>
              <a:off x="8406792" y="4188356"/>
              <a:ext cx="866775" cy="8667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8AE40F8-AF2F-7265-ED2A-525B672F6E2A}"/>
                </a:ext>
              </a:extLst>
            </p:cNvPr>
            <p:cNvSpPr txBox="1"/>
            <p:nvPr/>
          </p:nvSpPr>
          <p:spPr>
            <a:xfrm>
              <a:off x="8136681" y="5150003"/>
              <a:ext cx="140699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err="1">
                  <a:solidFill>
                    <a:srgbClr val="F3F3F0"/>
                  </a:solidFill>
                </a:rPr>
                <a:t>CMake</a:t>
              </a:r>
              <a:endParaRPr lang="en-US" sz="1400">
                <a:solidFill>
                  <a:srgbClr val="F3F3F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1687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AB595A-9CFB-4429-0BCD-236672036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solidFill>
                  <a:srgbClr val="00C1B6"/>
                </a:solidFill>
              </a:rPr>
              <a:t>Application</a:t>
            </a:r>
            <a:r>
              <a:rPr lang="en-US" dirty="0"/>
              <a:t> </a:t>
            </a:r>
            <a:r>
              <a:rPr lang="en-US" sz="2400" dirty="0">
                <a:solidFill>
                  <a:srgbClr val="00C1B6"/>
                </a:solidFill>
              </a:rPr>
              <a:t>Overview</a:t>
            </a:r>
            <a:endParaRPr lang="en-GB" sz="2400" dirty="0">
              <a:solidFill>
                <a:srgbClr val="00C1B6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F0E916-FED0-77CF-E236-DE32D14999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7488014" cy="4392000"/>
          </a:xfrm>
          <a:ln>
            <a:noFill/>
          </a:ln>
        </p:spPr>
        <p:txBody>
          <a:bodyPr/>
          <a:lstStyle/>
          <a:p>
            <a:r>
              <a:rPr lang="en-US" dirty="0"/>
              <a:t>Our application allows users to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teract with a webc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pture video fe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pload still images </a:t>
            </a:r>
          </a:p>
          <a:p>
            <a:endParaRPr lang="en-US" dirty="0"/>
          </a:p>
          <a:p>
            <a:r>
              <a:rPr lang="en-US" dirty="0"/>
              <a:t>Users can load local model files and apply object detection to analyze the images.</a:t>
            </a:r>
          </a:p>
          <a:p>
            <a:endParaRPr lang="en-US" dirty="0"/>
          </a:p>
          <a:p>
            <a:r>
              <a:rPr lang="en-US" dirty="0"/>
              <a:t>They can explore basic image processing algorithms to enhance and see how they can affect the results.</a:t>
            </a:r>
          </a:p>
        </p:txBody>
      </p:sp>
      <p:pic>
        <p:nvPicPr>
          <p:cNvPr id="8" name="Content Placeholder 7" descr="A large inflatable duck in the water&#10;&#10;Description automatically generated with medium confidence">
            <a:extLst>
              <a:ext uri="{FF2B5EF4-FFF2-40B4-BE49-F238E27FC236}">
                <a16:creationId xmlns:a16="http://schemas.microsoft.com/office/drawing/2014/main" id="{E476D6B6-075E-4C2C-A7CD-C959F1CA4854}"/>
              </a:ext>
            </a:extLst>
          </p:cNvPr>
          <p:cNvPicPr>
            <a:picLocks noGrp="1" noChangeAspect="1"/>
          </p:cNvPicPr>
          <p:nvPr>
            <p:ph idx="12"/>
          </p:nvPr>
        </p:nvPicPr>
        <p:blipFill rotWithShape="1">
          <a:blip r:embed="rId2"/>
          <a:stretch/>
        </p:blipFill>
        <p:spPr>
          <a:xfrm>
            <a:off x="8248868" y="1834578"/>
            <a:ext cx="3476190" cy="3552381"/>
          </a:xfrm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CEA9DE-AED4-A001-5E5D-7416BA6CAF4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9219" y="6310800"/>
            <a:ext cx="9216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</p:spTree>
    <p:extLst>
      <p:ext uri="{BB962C8B-B14F-4D97-AF65-F5344CB8AC3E}">
        <p14:creationId xmlns:p14="http://schemas.microsoft.com/office/powerpoint/2010/main" val="13931034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91CE3F37-9BB5-E3AC-D820-27F7343E86DD}"/>
              </a:ext>
            </a:extLst>
          </p:cNvPr>
          <p:cNvSpPr/>
          <p:nvPr/>
        </p:nvSpPr>
        <p:spPr>
          <a:xfrm>
            <a:off x="3068823" y="2185582"/>
            <a:ext cx="215589" cy="1357717"/>
          </a:xfrm>
          <a:prstGeom prst="rect">
            <a:avLst/>
          </a:prstGeom>
          <a:gradFill>
            <a:gsLst>
              <a:gs pos="0">
                <a:srgbClr val="009999"/>
              </a:gs>
              <a:gs pos="50000">
                <a:srgbClr val="00E6DC"/>
              </a:gs>
              <a:gs pos="100000">
                <a:srgbClr val="00FFB9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4E18847-575C-E635-E02E-7436D9D847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solidFill>
                  <a:srgbClr val="00C1B6"/>
                </a:solidFill>
              </a:rPr>
              <a:t>Architecture</a:t>
            </a:r>
            <a:endParaRPr lang="en-GB" sz="2400" dirty="0">
              <a:solidFill>
                <a:srgbClr val="00C1B6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4538D298-7BB5-0A4F-40F5-60189A2EB2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25998" y="1414462"/>
            <a:ext cx="5135790" cy="4392000"/>
          </a:xfrm>
          <a:ln>
            <a:noFill/>
          </a:ln>
        </p:spPr>
        <p:txBody>
          <a:bodyPr/>
          <a:lstStyle/>
          <a:p>
            <a:r>
              <a:rPr lang="en-US" sz="2400" dirty="0"/>
              <a:t>The application follows a straightforward architecture </a:t>
            </a:r>
          </a:p>
          <a:p>
            <a:endParaRPr lang="en-US" sz="2400" dirty="0"/>
          </a:p>
          <a:p>
            <a:r>
              <a:rPr lang="en-US" sz="2400" dirty="0"/>
              <a:t>Separate components for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0C1B6"/>
                </a:solidFill>
                <a:latin typeface="+mj-lt"/>
                <a:ea typeface="+mj-ea"/>
                <a:cs typeface="+mj-cs"/>
              </a:rPr>
              <a:t>Graphical User Interf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0C1B6"/>
                </a:solidFill>
                <a:latin typeface="+mj-lt"/>
                <a:ea typeface="+mj-ea"/>
                <a:cs typeface="+mj-cs"/>
              </a:rPr>
              <a:t>Webcam intera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0C1B6"/>
                </a:solidFill>
                <a:latin typeface="+mj-lt"/>
                <a:ea typeface="+mj-ea"/>
                <a:cs typeface="+mj-cs"/>
              </a:rPr>
              <a:t>Image process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0C1B6"/>
                </a:solidFill>
                <a:latin typeface="+mj-lt"/>
                <a:ea typeface="+mj-ea"/>
                <a:cs typeface="+mj-cs"/>
              </a:rPr>
              <a:t>Object detection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91E237-A00F-ACDC-A62C-702F93EA76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9219" y="6310800"/>
            <a:ext cx="9216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EE8F3EF-EF48-7918-521B-DC1FB44356E3}"/>
              </a:ext>
            </a:extLst>
          </p:cNvPr>
          <p:cNvGrpSpPr/>
          <p:nvPr/>
        </p:nvGrpSpPr>
        <p:grpSpPr>
          <a:xfrm>
            <a:off x="715310" y="1188397"/>
            <a:ext cx="4922617" cy="4844129"/>
            <a:chOff x="715310" y="871602"/>
            <a:chExt cx="4922617" cy="4844129"/>
          </a:xfrm>
        </p:grpSpPr>
        <p:sp>
          <p:nvSpPr>
            <p:cNvPr id="17" name="Block Arc 16">
              <a:extLst>
                <a:ext uri="{FF2B5EF4-FFF2-40B4-BE49-F238E27FC236}">
                  <a16:creationId xmlns:a16="http://schemas.microsoft.com/office/drawing/2014/main" id="{4D8F0E91-940E-4502-1C6E-1A10422B2DFF}"/>
                </a:ext>
              </a:extLst>
            </p:cNvPr>
            <p:cNvSpPr/>
            <p:nvPr/>
          </p:nvSpPr>
          <p:spPr>
            <a:xfrm rot="7200000">
              <a:off x="1069544" y="1501583"/>
              <a:ext cx="4214148" cy="4214148"/>
            </a:xfrm>
            <a:prstGeom prst="blockArc">
              <a:avLst>
                <a:gd name="adj1" fmla="val 9691153"/>
                <a:gd name="adj2" fmla="val 16200000"/>
                <a:gd name="adj3" fmla="val 4639"/>
              </a:avLst>
            </a:prstGeom>
            <a:gradFill flip="none" rotWithShape="1">
              <a:gsLst>
                <a:gs pos="0">
                  <a:srgbClr val="009999"/>
                </a:gs>
                <a:gs pos="50000">
                  <a:srgbClr val="00E6DC"/>
                </a:gs>
                <a:gs pos="100000">
                  <a:srgbClr val="00FFB9"/>
                </a:gs>
              </a:gsLst>
              <a:lin ang="16200000" scaled="1"/>
              <a:tileRect/>
            </a:gra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/>
            </a:p>
          </p:txBody>
        </p:sp>
        <p:sp>
          <p:nvSpPr>
            <p:cNvPr id="18" name="Block Arc 17">
              <a:extLst>
                <a:ext uri="{FF2B5EF4-FFF2-40B4-BE49-F238E27FC236}">
                  <a16:creationId xmlns:a16="http://schemas.microsoft.com/office/drawing/2014/main" id="{EC854D20-5CF0-586C-0040-F09ED327A41A}"/>
                </a:ext>
              </a:extLst>
            </p:cNvPr>
            <p:cNvSpPr/>
            <p:nvPr/>
          </p:nvSpPr>
          <p:spPr>
            <a:xfrm rot="7200000">
              <a:off x="1069544" y="1501583"/>
              <a:ext cx="4214148" cy="4214148"/>
            </a:xfrm>
            <a:prstGeom prst="blockArc">
              <a:avLst>
                <a:gd name="adj1" fmla="val 1800000"/>
                <a:gd name="adj2" fmla="val 9000000"/>
                <a:gd name="adj3" fmla="val 4639"/>
              </a:avLst>
            </a:prstGeom>
            <a:gradFill flip="none" rotWithShape="1">
              <a:gsLst>
                <a:gs pos="0">
                  <a:srgbClr val="009999"/>
                </a:gs>
                <a:gs pos="50000">
                  <a:srgbClr val="00E6DC"/>
                </a:gs>
                <a:gs pos="100000">
                  <a:srgbClr val="00FFB9"/>
                </a:gs>
              </a:gsLst>
              <a:lin ang="0" scaled="1"/>
              <a:tileRect/>
            </a:gra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F28C828-C03E-50EC-FDED-A1AA6EC7C1FC}"/>
                </a:ext>
              </a:extLst>
            </p:cNvPr>
            <p:cNvSpPr/>
            <p:nvPr/>
          </p:nvSpPr>
          <p:spPr>
            <a:xfrm>
              <a:off x="2206821" y="2638860"/>
              <a:ext cx="1939594" cy="1939594"/>
            </a:xfrm>
            <a:custGeom>
              <a:avLst/>
              <a:gdLst>
                <a:gd name="connsiteX0" fmla="*/ 0 w 1939594"/>
                <a:gd name="connsiteY0" fmla="*/ 969797 h 1939594"/>
                <a:gd name="connsiteX1" fmla="*/ 969797 w 1939594"/>
                <a:gd name="connsiteY1" fmla="*/ 0 h 1939594"/>
                <a:gd name="connsiteX2" fmla="*/ 1939594 w 1939594"/>
                <a:gd name="connsiteY2" fmla="*/ 969797 h 1939594"/>
                <a:gd name="connsiteX3" fmla="*/ 969797 w 1939594"/>
                <a:gd name="connsiteY3" fmla="*/ 1939594 h 1939594"/>
                <a:gd name="connsiteX4" fmla="*/ 0 w 1939594"/>
                <a:gd name="connsiteY4" fmla="*/ 969797 h 1939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9594" h="1939594">
                  <a:moveTo>
                    <a:pt x="0" y="969797"/>
                  </a:moveTo>
                  <a:cubicBezTo>
                    <a:pt x="0" y="434193"/>
                    <a:pt x="434193" y="0"/>
                    <a:pt x="969797" y="0"/>
                  </a:cubicBezTo>
                  <a:cubicBezTo>
                    <a:pt x="1505401" y="0"/>
                    <a:pt x="1939594" y="434193"/>
                    <a:pt x="1939594" y="969797"/>
                  </a:cubicBezTo>
                  <a:cubicBezTo>
                    <a:pt x="1939594" y="1505401"/>
                    <a:pt x="1505401" y="1939594"/>
                    <a:pt x="969797" y="1939594"/>
                  </a:cubicBezTo>
                  <a:cubicBezTo>
                    <a:pt x="434193" y="1939594"/>
                    <a:pt x="0" y="1505401"/>
                    <a:pt x="0" y="969797"/>
                  </a:cubicBezTo>
                  <a:close/>
                </a:path>
              </a:pathLst>
            </a:custGeom>
            <a:solidFill>
              <a:srgbClr val="00AF8E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10717" tIns="310717" rIns="310717" bIns="310717" numCol="1" spcCol="1270" anchor="ctr" anchorCtr="0">
              <a:noAutofit/>
            </a:bodyPr>
            <a:lstStyle/>
            <a:p>
              <a:pPr marL="0" lvl="0" indent="0" algn="ctr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100" kern="1200"/>
                <a:t>Application</a:t>
              </a:r>
              <a:endParaRPr lang="en-GB" sz="2100" kern="12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5D436B1-424C-6DAC-A93B-1AD0EC95DF55}"/>
                </a:ext>
              </a:extLst>
            </p:cNvPr>
            <p:cNvSpPr/>
            <p:nvPr/>
          </p:nvSpPr>
          <p:spPr>
            <a:xfrm>
              <a:off x="2497760" y="871602"/>
              <a:ext cx="1357716" cy="1357716"/>
            </a:xfrm>
            <a:custGeom>
              <a:avLst/>
              <a:gdLst>
                <a:gd name="connsiteX0" fmla="*/ 0 w 1357716"/>
                <a:gd name="connsiteY0" fmla="*/ 678858 h 1357716"/>
                <a:gd name="connsiteX1" fmla="*/ 678858 w 1357716"/>
                <a:gd name="connsiteY1" fmla="*/ 0 h 1357716"/>
                <a:gd name="connsiteX2" fmla="*/ 1357716 w 1357716"/>
                <a:gd name="connsiteY2" fmla="*/ 678858 h 1357716"/>
                <a:gd name="connsiteX3" fmla="*/ 678858 w 1357716"/>
                <a:gd name="connsiteY3" fmla="*/ 1357716 h 1357716"/>
                <a:gd name="connsiteX4" fmla="*/ 0 w 1357716"/>
                <a:gd name="connsiteY4" fmla="*/ 678858 h 1357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7716" h="1357716">
                  <a:moveTo>
                    <a:pt x="0" y="678858"/>
                  </a:moveTo>
                  <a:cubicBezTo>
                    <a:pt x="0" y="303935"/>
                    <a:pt x="303935" y="0"/>
                    <a:pt x="678858" y="0"/>
                  </a:cubicBezTo>
                  <a:cubicBezTo>
                    <a:pt x="1053781" y="0"/>
                    <a:pt x="1357716" y="303935"/>
                    <a:pt x="1357716" y="678858"/>
                  </a:cubicBezTo>
                  <a:cubicBezTo>
                    <a:pt x="1357716" y="1053781"/>
                    <a:pt x="1053781" y="1357716"/>
                    <a:pt x="678858" y="1357716"/>
                  </a:cubicBezTo>
                  <a:cubicBezTo>
                    <a:pt x="303935" y="1357716"/>
                    <a:pt x="0" y="1053781"/>
                    <a:pt x="0" y="678858"/>
                  </a:cubicBez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4073" tIns="214073" rIns="214073" bIns="214073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b="1" kern="1200"/>
                <a:t>GUI</a:t>
              </a:r>
              <a:endParaRPr lang="en-GB" sz="1200" b="1" kern="1200"/>
            </a:p>
            <a:p>
              <a:pPr marL="0" lvl="1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US" sz="900" kern="1200"/>
                <a:t>Main window</a:t>
              </a:r>
              <a:endParaRPr lang="en-GB" sz="900" kern="1200"/>
            </a:p>
            <a:p>
              <a:pPr marL="0" lvl="1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US" sz="900" kern="1200"/>
                <a:t>Menu</a:t>
              </a:r>
              <a:endParaRPr lang="en-GB" sz="900" kern="1200"/>
            </a:p>
            <a:p>
              <a:pPr marL="0" lvl="1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US" sz="900" kern="1200"/>
                <a:t>Status bar</a:t>
              </a:r>
              <a:endParaRPr lang="en-GB" sz="900" kern="12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81E1C88-9FE7-EC48-F799-D1B8EBCB47A2}"/>
                </a:ext>
              </a:extLst>
            </p:cNvPr>
            <p:cNvSpPr/>
            <p:nvPr/>
          </p:nvSpPr>
          <p:spPr>
            <a:xfrm>
              <a:off x="4280211" y="3958898"/>
              <a:ext cx="1357716" cy="1357716"/>
            </a:xfrm>
            <a:custGeom>
              <a:avLst/>
              <a:gdLst>
                <a:gd name="connsiteX0" fmla="*/ 0 w 1357716"/>
                <a:gd name="connsiteY0" fmla="*/ 678858 h 1357716"/>
                <a:gd name="connsiteX1" fmla="*/ 678858 w 1357716"/>
                <a:gd name="connsiteY1" fmla="*/ 0 h 1357716"/>
                <a:gd name="connsiteX2" fmla="*/ 1357716 w 1357716"/>
                <a:gd name="connsiteY2" fmla="*/ 678858 h 1357716"/>
                <a:gd name="connsiteX3" fmla="*/ 678858 w 1357716"/>
                <a:gd name="connsiteY3" fmla="*/ 1357716 h 1357716"/>
                <a:gd name="connsiteX4" fmla="*/ 0 w 1357716"/>
                <a:gd name="connsiteY4" fmla="*/ 678858 h 1357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7716" h="1357716">
                  <a:moveTo>
                    <a:pt x="0" y="678858"/>
                  </a:moveTo>
                  <a:cubicBezTo>
                    <a:pt x="0" y="303935"/>
                    <a:pt x="303935" y="0"/>
                    <a:pt x="678858" y="0"/>
                  </a:cubicBezTo>
                  <a:cubicBezTo>
                    <a:pt x="1053781" y="0"/>
                    <a:pt x="1357716" y="303935"/>
                    <a:pt x="1357716" y="678858"/>
                  </a:cubicBezTo>
                  <a:cubicBezTo>
                    <a:pt x="1357716" y="1053781"/>
                    <a:pt x="1053781" y="1357716"/>
                    <a:pt x="678858" y="1357716"/>
                  </a:cubicBezTo>
                  <a:cubicBezTo>
                    <a:pt x="303935" y="1357716"/>
                    <a:pt x="0" y="1053781"/>
                    <a:pt x="0" y="678858"/>
                  </a:cubicBez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4073" tIns="214073" rIns="214073" bIns="214073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b="1" kern="1200"/>
                <a:t>Utils</a:t>
              </a:r>
              <a:endParaRPr lang="en-GB" sz="1200" b="1" kern="1200"/>
            </a:p>
            <a:p>
              <a:pPr marL="0" lvl="1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US" sz="900" kern="1200"/>
                <a:t>Image processing algorithms</a:t>
              </a:r>
              <a:endParaRPr lang="en-GB" sz="900" kern="1200"/>
            </a:p>
            <a:p>
              <a:pPr marL="0" lvl="1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US" sz="900" kern="1200"/>
                <a:t>Frame status logic (undo/redo)</a:t>
              </a:r>
              <a:endParaRPr lang="en-GB" sz="900" kern="12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0A59E74-7ACF-895E-C893-9B6C328FCC7E}"/>
                </a:ext>
              </a:extLst>
            </p:cNvPr>
            <p:cNvSpPr/>
            <p:nvPr/>
          </p:nvSpPr>
          <p:spPr>
            <a:xfrm>
              <a:off x="715310" y="3958898"/>
              <a:ext cx="1357716" cy="1357716"/>
            </a:xfrm>
            <a:custGeom>
              <a:avLst/>
              <a:gdLst>
                <a:gd name="connsiteX0" fmla="*/ 0 w 1357716"/>
                <a:gd name="connsiteY0" fmla="*/ 678858 h 1357716"/>
                <a:gd name="connsiteX1" fmla="*/ 678858 w 1357716"/>
                <a:gd name="connsiteY1" fmla="*/ 0 h 1357716"/>
                <a:gd name="connsiteX2" fmla="*/ 1357716 w 1357716"/>
                <a:gd name="connsiteY2" fmla="*/ 678858 h 1357716"/>
                <a:gd name="connsiteX3" fmla="*/ 678858 w 1357716"/>
                <a:gd name="connsiteY3" fmla="*/ 1357716 h 1357716"/>
                <a:gd name="connsiteX4" fmla="*/ 0 w 1357716"/>
                <a:gd name="connsiteY4" fmla="*/ 678858 h 1357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7716" h="1357716">
                  <a:moveTo>
                    <a:pt x="0" y="678858"/>
                  </a:moveTo>
                  <a:cubicBezTo>
                    <a:pt x="0" y="303935"/>
                    <a:pt x="303935" y="0"/>
                    <a:pt x="678858" y="0"/>
                  </a:cubicBezTo>
                  <a:cubicBezTo>
                    <a:pt x="1053781" y="0"/>
                    <a:pt x="1357716" y="303935"/>
                    <a:pt x="1357716" y="678858"/>
                  </a:cubicBezTo>
                  <a:cubicBezTo>
                    <a:pt x="1357716" y="1053781"/>
                    <a:pt x="1053781" y="1357716"/>
                    <a:pt x="678858" y="1357716"/>
                  </a:cubicBezTo>
                  <a:cubicBezTo>
                    <a:pt x="303935" y="1357716"/>
                    <a:pt x="0" y="1053781"/>
                    <a:pt x="0" y="678858"/>
                  </a:cubicBez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4073" tIns="214073" rIns="214073" bIns="214073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b="1" kern="1200" dirty="0"/>
                <a:t>Detection</a:t>
              </a:r>
              <a:endParaRPr lang="en-GB" sz="1200" b="1" kern="1200" dirty="0"/>
            </a:p>
            <a:p>
              <a:pPr marL="0" lvl="1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US" sz="900" kern="1200" dirty="0"/>
                <a:t>Cascade Classifiers or Neural Networks</a:t>
              </a:r>
              <a:endParaRPr lang="en-GB" sz="9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31945299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182A55-E76E-A111-EDA3-520F17CC77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>
                <a:solidFill>
                  <a:srgbClr val="00C1B6"/>
                </a:solidFill>
              </a:rPr>
              <a:t>User Interface</a:t>
            </a:r>
            <a:endParaRPr lang="en-GB" sz="2400">
              <a:solidFill>
                <a:srgbClr val="00C1B6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7267CC-9212-9D88-6676-CF50C337C6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722688" cy="4392000"/>
          </a:xfrm>
          <a:ln>
            <a:noFill/>
          </a:ln>
        </p:spPr>
        <p:txBody>
          <a:bodyPr/>
          <a:lstStyle/>
          <a:p>
            <a:r>
              <a:rPr lang="en-US" dirty="0"/>
              <a:t>Created with the C++ Qt Library</a:t>
            </a:r>
          </a:p>
          <a:p>
            <a:r>
              <a:rPr lang="en-US" dirty="0"/>
              <a:t>Styled using the QSS syntax</a:t>
            </a:r>
          </a:p>
          <a:p>
            <a:endParaRPr lang="en-US" dirty="0"/>
          </a:p>
          <a:p>
            <a:r>
              <a:rPr lang="en-US" dirty="0"/>
              <a:t>Component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C1B6"/>
                </a:solidFill>
              </a:rPr>
              <a:t>Image viewer </a:t>
            </a:r>
          </a:p>
          <a:p>
            <a:pPr marL="645750" lvl="2" indent="-285750">
              <a:buClr>
                <a:srgbClr val="00C1B6"/>
              </a:buClr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C1B6"/>
                </a:solidFill>
              </a:rPr>
              <a:t>reimplemented Qt’s </a:t>
            </a:r>
            <a:r>
              <a:rPr lang="en-US" dirty="0" err="1">
                <a:solidFill>
                  <a:srgbClr val="00C1B6"/>
                </a:solidFill>
              </a:rPr>
              <a:t>QGraphicsView</a:t>
            </a:r>
            <a:endParaRPr lang="en-US" dirty="0">
              <a:solidFill>
                <a:srgbClr val="00C1B6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C1B6"/>
                </a:solidFill>
              </a:rPr>
              <a:t>Custom menu </a:t>
            </a:r>
            <a:r>
              <a:rPr lang="en-US" dirty="0" err="1">
                <a:solidFill>
                  <a:srgbClr val="00C1B6"/>
                </a:solidFill>
              </a:rPr>
              <a:t>QWidget</a:t>
            </a:r>
            <a:endParaRPr lang="en-US" dirty="0">
              <a:solidFill>
                <a:srgbClr val="00C1B6"/>
              </a:solidFill>
            </a:endParaRPr>
          </a:p>
          <a:p>
            <a:pPr marL="645750" lvl="2" indent="-285750">
              <a:buClr>
                <a:srgbClr val="00C1B6"/>
              </a:buClr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C1B6"/>
                </a:solidFill>
              </a:rPr>
              <a:t>custom checkable buttons</a:t>
            </a:r>
          </a:p>
          <a:p>
            <a:pPr marL="645750" lvl="2" indent="-285750">
              <a:buClr>
                <a:srgbClr val="00C1B6"/>
              </a:buClr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C1B6"/>
                </a:solidFill>
              </a:rPr>
              <a:t>scrollable list of available objects to detect (you can enable/disable) th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C1B6"/>
                </a:solidFill>
              </a:rPr>
              <a:t>Status bar</a:t>
            </a:r>
          </a:p>
        </p:txBody>
      </p:sp>
      <p:pic>
        <p:nvPicPr>
          <p:cNvPr id="15" name="Content Placeholder 14" descr="A group of people crossing a street&#10;&#10;Description automatically generated">
            <a:extLst>
              <a:ext uri="{FF2B5EF4-FFF2-40B4-BE49-F238E27FC236}">
                <a16:creationId xmlns:a16="http://schemas.microsoft.com/office/drawing/2014/main" id="{716BD0E5-FDE9-5E99-B374-A4FF91BC5B6F}"/>
              </a:ext>
            </a:extLst>
          </p:cNvPr>
          <p:cNvPicPr>
            <a:picLocks noGrp="1" noChangeAspect="1"/>
          </p:cNvPicPr>
          <p:nvPr>
            <p:ph idx="12"/>
          </p:nvPr>
        </p:nvPicPr>
        <p:blipFill>
          <a:blip r:embed="rId2"/>
          <a:stretch>
            <a:fillRect/>
          </a:stretch>
        </p:blipFill>
        <p:spPr>
          <a:xfrm>
            <a:off x="4380202" y="1487409"/>
            <a:ext cx="7565323" cy="4013505"/>
          </a:xfrm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AB7AC0-3C7C-E43B-FA7A-AD9BC2B425F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9219" y="6310800"/>
            <a:ext cx="9216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</p:spTree>
    <p:extLst>
      <p:ext uri="{BB962C8B-B14F-4D97-AF65-F5344CB8AC3E}">
        <p14:creationId xmlns:p14="http://schemas.microsoft.com/office/powerpoint/2010/main" val="1713235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182A55-E76E-A111-EDA3-520F17CC77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>
                <a:solidFill>
                  <a:srgbClr val="00C1B6"/>
                </a:solidFill>
              </a:rPr>
              <a:t>Object Detection</a:t>
            </a:r>
            <a:endParaRPr lang="en-GB" sz="2400">
              <a:solidFill>
                <a:srgbClr val="00C1B6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7267CC-9212-9D88-6676-CF50C337C6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371944" cy="4392000"/>
          </a:xfrm>
          <a:ln>
            <a:noFill/>
          </a:ln>
        </p:spPr>
        <p:txBody>
          <a:bodyPr/>
          <a:lstStyle/>
          <a:p>
            <a:r>
              <a:rPr lang="en-US" dirty="0"/>
              <a:t>Cascade Classifier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/>
              <a:t>single-object detector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/>
              <a:t>uses </a:t>
            </a:r>
            <a:r>
              <a:rPr lang="en-US" dirty="0" err="1">
                <a:solidFill>
                  <a:schemeClr val="accent2"/>
                </a:solidFill>
              </a:rPr>
              <a:t>haarcascades</a:t>
            </a:r>
            <a:r>
              <a:rPr lang="en-US" dirty="0"/>
              <a:t> or </a:t>
            </a:r>
            <a:r>
              <a:rPr lang="en-US" dirty="0" err="1">
                <a:solidFill>
                  <a:schemeClr val="accent2"/>
                </a:solidFill>
              </a:rPr>
              <a:t>lbpcascades</a:t>
            </a:r>
            <a:endParaRPr lang="en-US" dirty="0">
              <a:solidFill>
                <a:schemeClr val="accent2"/>
              </a:solidFill>
            </a:endParaRPr>
          </a:p>
          <a:p>
            <a:r>
              <a:rPr lang="en-US" dirty="0"/>
              <a:t>Neural Network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/>
              <a:t>multi-object detection</a:t>
            </a:r>
            <a:endParaRPr lang="en-US" dirty="0">
              <a:solidFill>
                <a:srgbClr val="00C1B6"/>
              </a:solidFill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/>
              <a:t>Requires three files: </a:t>
            </a:r>
            <a:r>
              <a:rPr lang="en-US" dirty="0">
                <a:solidFill>
                  <a:schemeClr val="accent2"/>
                </a:solidFill>
              </a:rPr>
              <a:t>model</a:t>
            </a:r>
            <a:r>
              <a:rPr lang="en-US" dirty="0"/>
              <a:t>, </a:t>
            </a:r>
            <a:r>
              <a:rPr lang="en-US" dirty="0">
                <a:solidFill>
                  <a:schemeClr val="accent2"/>
                </a:solidFill>
              </a:rPr>
              <a:t>classes</a:t>
            </a:r>
            <a:r>
              <a:rPr lang="en-US" dirty="0"/>
              <a:t>, </a:t>
            </a:r>
            <a:r>
              <a:rPr lang="en-US" dirty="0">
                <a:solidFill>
                  <a:schemeClr val="accent2"/>
                </a:solidFill>
              </a:rPr>
              <a:t>config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/>
              <a:t>You can enable/disable certain object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/>
              <a:t>You can adjust the minimum-</a:t>
            </a:r>
            <a:r>
              <a:rPr lang="en-US" dirty="0" err="1"/>
              <a:t>thershold</a:t>
            </a:r>
            <a:endParaRPr lang="en-US" dirty="0"/>
          </a:p>
        </p:txBody>
      </p:sp>
      <p:pic>
        <p:nvPicPr>
          <p:cNvPr id="9" name="Untitled video - Made with Clipchamp (1)">
            <a:hlinkClick r:id="" action="ppaction://media"/>
            <a:extLst>
              <a:ext uri="{FF2B5EF4-FFF2-40B4-BE49-F238E27FC236}">
                <a16:creationId xmlns:a16="http://schemas.microsoft.com/office/drawing/2014/main" id="{DEE5A6AE-F989-9DCA-55DE-00F0BF844383}"/>
              </a:ext>
            </a:extLst>
          </p:cNvPr>
          <p:cNvPicPr>
            <a:picLocks noGrp="1" noChangeAspect="1"/>
          </p:cNvPicPr>
          <p:nvPr>
            <p:ph idx="12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498" t="4663" b="4976"/>
          <a:stretch/>
        </p:blipFill>
        <p:spPr>
          <a:xfrm>
            <a:off x="4368800" y="1619250"/>
            <a:ext cx="7054850" cy="3968750"/>
          </a:xfrm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AB7AC0-3C7C-E43B-FA7A-AD9BC2B425F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9219" y="6310800"/>
            <a:ext cx="9216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</p:spTree>
    <p:extLst>
      <p:ext uri="{BB962C8B-B14F-4D97-AF65-F5344CB8AC3E}">
        <p14:creationId xmlns:p14="http://schemas.microsoft.com/office/powerpoint/2010/main" val="1911023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2446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D3560FB0-8103-2738-777D-8C530FAE10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odel Loading</a:t>
            </a:r>
            <a:endParaRPr lang="en-US" b="0"/>
          </a:p>
          <a:p>
            <a:endParaRPr lang="en-US" sz="2400">
              <a:solidFill>
                <a:srgbClr val="00D1CB"/>
              </a:solidFill>
              <a:cs typeface="Arial"/>
            </a:endParaRPr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72A69F76-363B-1969-7C2B-89D6386061B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9219" y="6310800"/>
            <a:ext cx="9216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  <p:pic>
        <p:nvPicPr>
          <p:cNvPr id="15" name="Siemens Logo" descr="Siemens logo">
            <a:extLst>
              <a:ext uri="{FF2B5EF4-FFF2-40B4-BE49-F238E27FC236}">
                <a16:creationId xmlns:a16="http://schemas.microsoft.com/office/drawing/2014/main" id="{BA20C30C-E5F7-27F5-D523-EE113D41249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416CDBB-BDCD-6BAF-072D-C170702BD676}"/>
              </a:ext>
            </a:extLst>
          </p:cNvPr>
          <p:cNvSpPr txBox="1"/>
          <p:nvPr/>
        </p:nvSpPr>
        <p:spPr>
          <a:xfrm>
            <a:off x="527466" y="1591373"/>
            <a:ext cx="5041230" cy="37340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You can add models and specify the following properties:</a:t>
            </a:r>
          </a:p>
          <a:p>
            <a:pPr marL="465455" lvl="1" indent="-285750" algn="l" rtl="0">
              <a:lnSpc>
                <a:spcPct val="110000"/>
              </a:lnSpc>
              <a:spcAft>
                <a:spcPts val="300"/>
              </a:spcAft>
              <a:buClr>
                <a:schemeClr val="tx1"/>
              </a:buClr>
            </a:pPr>
            <a:r>
              <a:rPr lang="en-US" kern="1200" dirty="0">
                <a:solidFill>
                  <a:srgbClr val="00C1B6"/>
                </a:solidFill>
                <a:latin typeface="+mn-lt"/>
                <a:ea typeface="+mn-ea"/>
                <a:cs typeface="+mn-cs"/>
              </a:rPr>
              <a:t>Type </a:t>
            </a:r>
            <a:r>
              <a:rPr lang="en-US" kern="1200" dirty="0">
                <a:solidFill>
                  <a:schemeClr val="accent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rPr>
              <a:t>(cascade or network)</a:t>
            </a:r>
          </a:p>
          <a:p>
            <a:pPr marL="465455" lvl="1" indent="-285750" algn="l" rtl="0">
              <a:lnSpc>
                <a:spcPct val="110000"/>
              </a:lnSpc>
              <a:spcAft>
                <a:spcPts val="300"/>
              </a:spcAft>
              <a:buClr>
                <a:schemeClr val="tx1"/>
              </a:buClr>
            </a:pPr>
            <a:r>
              <a:rPr lang="en-US" kern="1200" dirty="0">
                <a:solidFill>
                  <a:srgbClr val="00C1B6"/>
                </a:solidFill>
                <a:latin typeface="+mn-lt"/>
                <a:ea typeface="+mn-ea"/>
                <a:cs typeface="+mn-cs"/>
              </a:rPr>
              <a:t>The path(s) of the model</a:t>
            </a:r>
          </a:p>
          <a:p>
            <a:pPr marL="465455" lvl="1" indent="-285750" algn="l" rtl="0">
              <a:lnSpc>
                <a:spcPct val="110000"/>
              </a:lnSpc>
              <a:spcAft>
                <a:spcPts val="300"/>
              </a:spcAft>
              <a:buClr>
                <a:schemeClr val="tx1"/>
              </a:buClr>
            </a:pPr>
            <a:r>
              <a:rPr lang="en-US" kern="1200" dirty="0">
                <a:solidFill>
                  <a:srgbClr val="00C1B6"/>
                </a:solidFill>
                <a:latin typeface="+mn-lt"/>
                <a:ea typeface="+mn-ea"/>
                <a:cs typeface="+mn-cs"/>
              </a:rPr>
              <a:t>The mean values for the model </a:t>
            </a:r>
            <a:r>
              <a:rPr lang="en-US" kern="1200" dirty="0">
                <a:solidFill>
                  <a:schemeClr val="accent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rPr>
              <a:t>(optional)</a:t>
            </a:r>
            <a:endParaRPr lang="en-US" kern="1200" dirty="0">
              <a:solidFill>
                <a:schemeClr val="accent2">
                  <a:lumMod val="20000"/>
                  <a:lumOff val="80000"/>
                </a:schemeClr>
              </a:solidFill>
              <a:latin typeface="+mn-lt"/>
              <a:ea typeface="+mn-ea"/>
              <a:cs typeface="Arial"/>
            </a:endParaRPr>
          </a:p>
          <a:p>
            <a:pPr marL="465455" lvl="1" indent="-285750" algn="l" rtl="0">
              <a:lnSpc>
                <a:spcPct val="110000"/>
              </a:lnSpc>
              <a:spcAft>
                <a:spcPts val="300"/>
              </a:spcAft>
              <a:buClr>
                <a:schemeClr val="tx1"/>
              </a:buClr>
            </a:pPr>
            <a:r>
              <a:rPr lang="en-US" kern="1200" dirty="0">
                <a:solidFill>
                  <a:srgbClr val="00C1B6"/>
                </a:solidFill>
                <a:latin typeface="+mn-lt"/>
                <a:ea typeface="+mn-ea"/>
                <a:cs typeface="+mn-cs"/>
              </a:rPr>
              <a:t>Whether to swap the red and blue channels </a:t>
            </a:r>
            <a:r>
              <a:rPr lang="en-US" kern="1200" dirty="0">
                <a:solidFill>
                  <a:schemeClr val="accent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rPr>
              <a:t>(optional)</a:t>
            </a:r>
          </a:p>
          <a:p>
            <a:pPr marL="285455" indent="-285750" algn="l" rtl="0">
              <a:lnSpc>
                <a:spcPct val="110000"/>
              </a:lnSpc>
              <a:spcAft>
                <a:spcPts val="300"/>
              </a:spcAft>
              <a:buClr>
                <a:schemeClr val="tx1"/>
              </a:buClr>
            </a:pPr>
            <a:endParaRPr lang="en-US" sz="24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l" rtl="0">
              <a:lnSpc>
                <a:spcPct val="110000"/>
              </a:lnSpc>
              <a:spcAft>
                <a:spcPts val="300"/>
              </a:spcAft>
              <a:buClr>
                <a:schemeClr val="tx1"/>
              </a:buClr>
            </a:pPr>
            <a:r>
              <a: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ach detector is saved in </a:t>
            </a:r>
            <a:r>
              <a:rPr lang="en-US" sz="24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“*.</a:t>
            </a:r>
            <a:r>
              <a:rPr lang="en-US" sz="2400" kern="1200" dirty="0" err="1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yaml</a:t>
            </a:r>
            <a:r>
              <a: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” file in the “</a:t>
            </a:r>
            <a:r>
              <a:rPr lang="en-US" sz="2400" kern="1200" dirty="0" err="1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detector_paths</a:t>
            </a:r>
            <a:r>
              <a: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” directory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50A1D50-003A-F14D-860F-48EDCBF6EA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04581" y="1438428"/>
            <a:ext cx="5759953" cy="3981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1930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10D9DC-AF94-E2BD-4A6F-67ADD6100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+mj-lt"/>
                <a:cs typeface="+mj-lt"/>
              </a:rPr>
              <a:t>Image Processing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62C077-42CB-88E7-1F18-CF396A96E1E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9219" y="6310800"/>
            <a:ext cx="9216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3 | Ferencz </a:t>
            </a:r>
            <a:r>
              <a:rPr lang="en-US" err="1"/>
              <a:t>Cârnu</a:t>
            </a:r>
            <a:r>
              <a:rPr lang="en-US"/>
              <a:t> &amp; George </a:t>
            </a:r>
            <a:r>
              <a:rPr lang="en-US" err="1"/>
              <a:t>Patrașc</a:t>
            </a:r>
            <a:r>
              <a:rPr lang="en-US"/>
              <a:t> | IFA | 2023-09-28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ACDD5C8-8604-0CD3-D218-9B47C287C904}"/>
              </a:ext>
            </a:extLst>
          </p:cNvPr>
          <p:cNvSpPr txBox="1"/>
          <p:nvPr/>
        </p:nvSpPr>
        <p:spPr>
          <a:xfrm>
            <a:off x="687226" y="1441076"/>
            <a:ext cx="4491316" cy="336502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rtl="0">
              <a:lnSpc>
                <a:spcPct val="150000"/>
              </a:lnSpc>
            </a:pPr>
            <a:r>
              <a:rPr lang="en-US" sz="2000">
                <a:solidFill>
                  <a:schemeClr val="tx1"/>
                </a:solidFill>
                <a:latin typeface="Arial"/>
                <a:cs typeface="Segoe UI"/>
              </a:rPr>
              <a:t>There are different filters to enhance the image:​</a:t>
            </a:r>
            <a:endParaRPr lang="en-US">
              <a:solidFill>
                <a:schemeClr val="tx1"/>
              </a:solidFill>
            </a:endParaRPr>
          </a:p>
          <a:p>
            <a:pPr marL="359410" lvl="2" indent="-179705" rtl="0">
              <a:lnSpc>
                <a:spcPct val="150000"/>
              </a:lnSpc>
            </a:pPr>
            <a:r>
              <a:rPr lang="en-US">
                <a:solidFill>
                  <a:srgbClr val="00C1B6"/>
                </a:solidFill>
                <a:latin typeface="Arial"/>
                <a:cs typeface="Arial"/>
              </a:rPr>
              <a:t>Binary Thresholding​</a:t>
            </a:r>
          </a:p>
          <a:p>
            <a:pPr marL="359410" lvl="2" indent="-179705" rtl="0">
              <a:lnSpc>
                <a:spcPct val="150000"/>
              </a:lnSpc>
            </a:pPr>
            <a:r>
              <a:rPr lang="en-US">
                <a:solidFill>
                  <a:srgbClr val="00C1B6"/>
                </a:solidFill>
                <a:latin typeface="Arial"/>
                <a:cs typeface="Arial"/>
              </a:rPr>
              <a:t>Thresholding to zero​</a:t>
            </a:r>
          </a:p>
          <a:p>
            <a:pPr marL="359410" lvl="2" indent="-179705" rtl="0">
              <a:lnSpc>
                <a:spcPct val="150000"/>
              </a:lnSpc>
            </a:pPr>
            <a:r>
              <a:rPr lang="en-US">
                <a:solidFill>
                  <a:srgbClr val="00C1B6"/>
                </a:solidFill>
                <a:latin typeface="Arial"/>
                <a:cs typeface="Arial"/>
              </a:rPr>
              <a:t>Truncate​</a:t>
            </a:r>
          </a:p>
          <a:p>
            <a:pPr marL="359410" lvl="2" indent="-179705" rtl="0">
              <a:lnSpc>
                <a:spcPct val="150000"/>
              </a:lnSpc>
            </a:pPr>
            <a:r>
              <a:rPr lang="en-US">
                <a:solidFill>
                  <a:srgbClr val="00C1B6"/>
                </a:solidFill>
                <a:latin typeface="Arial"/>
                <a:cs typeface="Arial"/>
              </a:rPr>
              <a:t>Adaptive Thresholding​</a:t>
            </a:r>
          </a:p>
          <a:p>
            <a:pPr marL="359410" lvl="2" indent="-179705" rtl="0">
              <a:lnSpc>
                <a:spcPct val="150000"/>
              </a:lnSpc>
            </a:pPr>
            <a:r>
              <a:rPr lang="en-US" err="1">
                <a:solidFill>
                  <a:srgbClr val="00C1B6"/>
                </a:solidFill>
                <a:latin typeface="Arial"/>
                <a:cs typeface="Arial"/>
              </a:rPr>
              <a:t>Histrogram</a:t>
            </a:r>
            <a:r>
              <a:rPr lang="en-US">
                <a:solidFill>
                  <a:srgbClr val="00C1B6"/>
                </a:solidFill>
                <a:latin typeface="Arial"/>
                <a:cs typeface="Arial"/>
              </a:rPr>
              <a:t> Equalization​</a:t>
            </a:r>
          </a:p>
          <a:p>
            <a:pPr marL="359410" lvl="2" indent="-179705" rtl="0">
              <a:lnSpc>
                <a:spcPct val="150000"/>
              </a:lnSpc>
            </a:pPr>
            <a:r>
              <a:rPr lang="en-US">
                <a:solidFill>
                  <a:srgbClr val="00C1B6"/>
                </a:solidFill>
                <a:latin typeface="Arial"/>
                <a:cs typeface="Arial"/>
              </a:rPr>
              <a:t>Detect Edges</a:t>
            </a:r>
          </a:p>
        </p:txBody>
      </p:sp>
      <p:pic>
        <p:nvPicPr>
          <p:cNvPr id="3" name="algorithms">
            <a:hlinkClick r:id="" action="ppaction://media"/>
            <a:extLst>
              <a:ext uri="{FF2B5EF4-FFF2-40B4-BE49-F238E27FC236}">
                <a16:creationId xmlns:a16="http://schemas.microsoft.com/office/drawing/2014/main" id="{45883139-0C9E-12C0-5C15-97CDA6F12EA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901451" y="1441076"/>
            <a:ext cx="6903730" cy="3559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16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4834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iemens Advanta 2023">
  <a:themeElements>
    <a:clrScheme name="Siemens_Advanta_Colors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E6E65F"/>
      </a:accent2>
      <a:accent3>
        <a:srgbClr val="00C1B6"/>
      </a:accent3>
      <a:accent4>
        <a:srgbClr val="00D7A0"/>
      </a:accent4>
      <a:accent5>
        <a:srgbClr val="00BED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_Advanta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Siemens Advanta Green | 230 230 95">
      <a:srgbClr val="E6E65F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White">
      <a:srgbClr val="FFFFFF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Siemens Advanta_Master_v1.pptx" id="{0BEE99C9-5919-4892-BEB8-6387CB4793B1}" vid="{8597CB64-FCFC-4EAA-85D1-4FB0FAA51C2C}"/>
    </a:ext>
  </a:extLst>
</a:theme>
</file>

<file path=ppt/theme/theme3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FFB9"/>
      </a:hlink>
      <a:folHlink>
        <a:srgbClr val="00E6DC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FFB9"/>
      </a:hlink>
      <a:folHlink>
        <a:srgbClr val="00E6DC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5</TotalTime>
  <Words>805</Words>
  <Application>Microsoft Office PowerPoint</Application>
  <PresentationFormat>Widescreen</PresentationFormat>
  <Paragraphs>139</Paragraphs>
  <Slides>18</Slides>
  <Notes>0</Notes>
  <HiddenSlides>0</HiddenSlides>
  <MMClips>3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4" baseType="lpstr">
      <vt:lpstr>Arial</vt:lpstr>
      <vt:lpstr>Courier New</vt:lpstr>
      <vt:lpstr>Söhne</vt:lpstr>
      <vt:lpstr>Siemens 2022</vt:lpstr>
      <vt:lpstr>Siemens Advanta 2023</vt:lpstr>
      <vt:lpstr>think-cell Slide</vt:lpstr>
      <vt:lpstr>DiscoverIT Internship  Detection App</vt:lpstr>
      <vt:lpstr>PowerPoint Presentation</vt:lpstr>
      <vt:lpstr>PowerPoint Presentation</vt:lpstr>
      <vt:lpstr>Application Overview</vt:lpstr>
      <vt:lpstr>Architecture</vt:lpstr>
      <vt:lpstr>User Interface</vt:lpstr>
      <vt:lpstr>Object Detection</vt:lpstr>
      <vt:lpstr>Model Loading </vt:lpstr>
      <vt:lpstr>Image Processing</vt:lpstr>
      <vt:lpstr>ObjectDetection library</vt:lpstr>
      <vt:lpstr>Single Responsibility Principle</vt:lpstr>
      <vt:lpstr>Open/Closed Principle</vt:lpstr>
      <vt:lpstr>Liskov Substitution Principle</vt:lpstr>
      <vt:lpstr>Interface Segregation Principle</vt:lpstr>
      <vt:lpstr>Dependency Inversion Principle</vt:lpstr>
      <vt:lpstr>Tests and documentation</vt:lpstr>
      <vt:lpstr>Python and Machine Learning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AG PowerPoint Presentation</dc:title>
  <cp:keywords>Template</cp:keywords>
  <dc:description>Version 3.4.4
April 2023</dc:description>
  <cp:lastModifiedBy>Ferencz Carnu</cp:lastModifiedBy>
  <cp:revision>1</cp:revision>
  <dcterms:created xsi:type="dcterms:W3CDTF">2020-07-27T12:43:17Z</dcterms:created>
  <dcterms:modified xsi:type="dcterms:W3CDTF">2023-09-18T09:56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number">
    <vt:lpwstr>4.0.0</vt:lpwstr>
  </property>
  <property fmtid="{D5CDD505-2E9C-101B-9397-08002B2CF9AE}" pid="3" name="Language">
    <vt:lpwstr>English</vt:lpwstr>
  </property>
</Properties>
</file>